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2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4"/>
  </p:sldMasterIdLst>
  <p:notesMasterIdLst>
    <p:notesMasterId r:id="rId9"/>
  </p:notesMasterIdLst>
  <p:handoutMasterIdLst>
    <p:handoutMasterId r:id="rId10"/>
  </p:handoutMasterIdLst>
  <p:sldIdLst>
    <p:sldId id="369" r:id="rId5"/>
    <p:sldId id="370" r:id="rId6"/>
    <p:sldId id="371" r:id="rId7"/>
    <p:sldId id="368" r:id="rId8"/>
  </p:sldIdLst>
  <p:sldSz cx="12192000" cy="6858000"/>
  <p:notesSz cx="6858000" cy="91440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7F5E1DB-AEFA-48C5-883F-FC7E631677F6}" v="512" dt="2024-04-29T12:22:33.324"/>
  </p1510:revLst>
</p1510:revInfo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22" autoAdjust="0"/>
    <p:restoredTop sz="96056" autoAdjust="0"/>
  </p:normalViewPr>
  <p:slideViewPr>
    <p:cSldViewPr snapToGrid="0">
      <p:cViewPr varScale="1">
        <p:scale>
          <a:sx n="88" d="100"/>
          <a:sy n="88" d="100"/>
        </p:scale>
        <p:origin x="204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984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914F0D3-4CDC-489D-AE2D-03AFBB71BC01}" type="doc">
      <dgm:prSet loTypeId="urn:microsoft.com/office/officeart/2005/8/layout/h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82399F5-1AB9-484C-95DB-6E5637E3D32E}">
      <dgm:prSet phldrT="[Text]"/>
      <dgm:spPr/>
      <dgm:t>
        <a:bodyPr/>
        <a:lstStyle/>
        <a:p>
          <a:r>
            <a:rPr lang="en-US" dirty="0"/>
            <a:t>1960s</a:t>
          </a:r>
        </a:p>
      </dgm:t>
    </dgm:pt>
    <dgm:pt modelId="{8E72D56A-F992-4EB2-A07E-3500B352FABB}" type="parTrans" cxnId="{C410BFA6-8298-4B1D-A1BE-1698212C5A68}">
      <dgm:prSet/>
      <dgm:spPr/>
      <dgm:t>
        <a:bodyPr/>
        <a:lstStyle/>
        <a:p>
          <a:endParaRPr lang="en-US"/>
        </a:p>
      </dgm:t>
    </dgm:pt>
    <dgm:pt modelId="{8BEED367-8F90-4A53-885F-53317020632C}" type="sibTrans" cxnId="{C410BFA6-8298-4B1D-A1BE-1698212C5A68}">
      <dgm:prSet/>
      <dgm:spPr/>
      <dgm:t>
        <a:bodyPr/>
        <a:lstStyle/>
        <a:p>
          <a:endParaRPr lang="en-US"/>
        </a:p>
      </dgm:t>
    </dgm:pt>
    <dgm:pt modelId="{DA40BDD7-5CD6-4CC3-BECE-79AC1FBD4D46}">
      <dgm:prSet phldrT="[Text]"/>
      <dgm:spPr/>
      <dgm:t>
        <a:bodyPr/>
        <a:lstStyle/>
        <a:p>
          <a:r>
            <a:rPr lang="en-US" dirty="0"/>
            <a:t>Sensorama</a:t>
          </a:r>
        </a:p>
      </dgm:t>
    </dgm:pt>
    <dgm:pt modelId="{D352E84D-D624-4501-90AB-C28A7348A0D0}" type="parTrans" cxnId="{2F27E17C-27DD-4634-9685-B8DFF35B0246}">
      <dgm:prSet/>
      <dgm:spPr/>
      <dgm:t>
        <a:bodyPr/>
        <a:lstStyle/>
        <a:p>
          <a:endParaRPr lang="en-US"/>
        </a:p>
      </dgm:t>
    </dgm:pt>
    <dgm:pt modelId="{FB6B4B64-FEA9-4831-842A-7E5CDB87C0E1}" type="sibTrans" cxnId="{2F27E17C-27DD-4634-9685-B8DFF35B0246}">
      <dgm:prSet/>
      <dgm:spPr/>
      <dgm:t>
        <a:bodyPr/>
        <a:lstStyle/>
        <a:p>
          <a:endParaRPr lang="en-US"/>
        </a:p>
      </dgm:t>
    </dgm:pt>
    <dgm:pt modelId="{3DB36EE9-BB37-4313-B49F-06AD76C00C63}">
      <dgm:prSet phldrT="[Text]"/>
      <dgm:spPr/>
      <dgm:t>
        <a:bodyPr/>
        <a:lstStyle/>
        <a:p>
          <a:r>
            <a:rPr lang="en-US" dirty="0"/>
            <a:t>1970s</a:t>
          </a:r>
        </a:p>
      </dgm:t>
    </dgm:pt>
    <dgm:pt modelId="{33639EA0-F6D4-4EEA-91DD-52C41D3F018D}" type="parTrans" cxnId="{AD5CABFF-6E1E-4E5F-9B58-5E071FF90EDD}">
      <dgm:prSet/>
      <dgm:spPr/>
      <dgm:t>
        <a:bodyPr/>
        <a:lstStyle/>
        <a:p>
          <a:endParaRPr lang="en-US"/>
        </a:p>
      </dgm:t>
    </dgm:pt>
    <dgm:pt modelId="{00231016-ED28-4FDE-83C2-9FF3268B55CC}" type="sibTrans" cxnId="{AD5CABFF-6E1E-4E5F-9B58-5E071FF90EDD}">
      <dgm:prSet/>
      <dgm:spPr/>
      <dgm:t>
        <a:bodyPr/>
        <a:lstStyle/>
        <a:p>
          <a:endParaRPr lang="en-US"/>
        </a:p>
      </dgm:t>
    </dgm:pt>
    <dgm:pt modelId="{DFA88EC4-5B64-4310-AC2B-3781F7245129}">
      <dgm:prSet phldrT="[Text]"/>
      <dgm:spPr/>
      <dgm:t>
        <a:bodyPr/>
        <a:lstStyle/>
        <a:p>
          <a:r>
            <a:rPr lang="en-US" dirty="0" err="1"/>
            <a:t>Videoplace</a:t>
          </a:r>
          <a:endParaRPr lang="en-US" dirty="0"/>
        </a:p>
      </dgm:t>
    </dgm:pt>
    <dgm:pt modelId="{F778942A-80A5-49C7-A068-3F987A7F3DBB}" type="parTrans" cxnId="{1C908B0C-7D13-4594-AF4D-CE5C2E5C065D}">
      <dgm:prSet/>
      <dgm:spPr/>
      <dgm:t>
        <a:bodyPr/>
        <a:lstStyle/>
        <a:p>
          <a:endParaRPr lang="en-US"/>
        </a:p>
      </dgm:t>
    </dgm:pt>
    <dgm:pt modelId="{DFBE27FC-DC2D-4925-8D60-01596E2B4C1E}" type="sibTrans" cxnId="{1C908B0C-7D13-4594-AF4D-CE5C2E5C065D}">
      <dgm:prSet/>
      <dgm:spPr/>
      <dgm:t>
        <a:bodyPr/>
        <a:lstStyle/>
        <a:p>
          <a:endParaRPr lang="en-US"/>
        </a:p>
      </dgm:t>
    </dgm:pt>
    <dgm:pt modelId="{199BBA76-6A2B-4EFE-88CE-8A2522BAE5A7}">
      <dgm:prSet phldrT="[Text]"/>
      <dgm:spPr/>
      <dgm:t>
        <a:bodyPr/>
        <a:lstStyle/>
        <a:p>
          <a:r>
            <a:rPr lang="en-US"/>
            <a:t>Sword of Damocles</a:t>
          </a:r>
          <a:endParaRPr lang="en-US" dirty="0"/>
        </a:p>
      </dgm:t>
    </dgm:pt>
    <dgm:pt modelId="{AEDCD24C-28FE-47D3-908F-B23A0DF72F28}" type="parTrans" cxnId="{6EA11F16-B7EC-489F-B34B-68361666A27E}">
      <dgm:prSet/>
      <dgm:spPr/>
      <dgm:t>
        <a:bodyPr/>
        <a:lstStyle/>
        <a:p>
          <a:endParaRPr lang="en-US"/>
        </a:p>
      </dgm:t>
    </dgm:pt>
    <dgm:pt modelId="{35CE0204-D8CC-4313-91E4-19B6B55EE85D}" type="sibTrans" cxnId="{6EA11F16-B7EC-489F-B34B-68361666A27E}">
      <dgm:prSet/>
      <dgm:spPr/>
      <dgm:t>
        <a:bodyPr/>
        <a:lstStyle/>
        <a:p>
          <a:endParaRPr lang="en-US"/>
        </a:p>
      </dgm:t>
    </dgm:pt>
    <dgm:pt modelId="{2193DD72-1C93-4873-8DFF-C3710DF9D928}">
      <dgm:prSet phldrT="[Text]"/>
      <dgm:spPr/>
      <dgm:t>
        <a:bodyPr/>
        <a:lstStyle/>
        <a:p>
          <a:r>
            <a:rPr lang="en-US" dirty="0"/>
            <a:t>2010s</a:t>
          </a:r>
        </a:p>
      </dgm:t>
    </dgm:pt>
    <dgm:pt modelId="{08E3528E-4B27-456A-8AE0-94611718AAD6}" type="parTrans" cxnId="{1046FD4E-552F-46EC-B469-9CF2B91A3456}">
      <dgm:prSet/>
      <dgm:spPr/>
      <dgm:t>
        <a:bodyPr/>
        <a:lstStyle/>
        <a:p>
          <a:endParaRPr lang="en-US"/>
        </a:p>
      </dgm:t>
    </dgm:pt>
    <dgm:pt modelId="{890BF2A3-BA33-4AF8-9550-A88AF79ED9EC}" type="sibTrans" cxnId="{1046FD4E-552F-46EC-B469-9CF2B91A3456}">
      <dgm:prSet/>
      <dgm:spPr/>
      <dgm:t>
        <a:bodyPr/>
        <a:lstStyle/>
        <a:p>
          <a:endParaRPr lang="en-US"/>
        </a:p>
      </dgm:t>
    </dgm:pt>
    <dgm:pt modelId="{178F3A80-1CC9-4913-B0E0-40A414F2D54D}">
      <dgm:prSet phldrT="[Text]"/>
      <dgm:spPr/>
      <dgm:t>
        <a:bodyPr/>
        <a:lstStyle/>
        <a:p>
          <a:r>
            <a:rPr lang="en-US" dirty="0"/>
            <a:t>1980s</a:t>
          </a:r>
        </a:p>
      </dgm:t>
    </dgm:pt>
    <dgm:pt modelId="{7A30B199-48B7-4D56-ADF3-C6B7C74F071F}" type="parTrans" cxnId="{B0F656E3-65F8-4595-A98C-1EB028F9852C}">
      <dgm:prSet/>
      <dgm:spPr/>
      <dgm:t>
        <a:bodyPr/>
        <a:lstStyle/>
        <a:p>
          <a:endParaRPr lang="en-US"/>
        </a:p>
      </dgm:t>
    </dgm:pt>
    <dgm:pt modelId="{192727CB-ADAA-4DA0-B13D-5955456FE288}" type="sibTrans" cxnId="{B0F656E3-65F8-4595-A98C-1EB028F9852C}">
      <dgm:prSet/>
      <dgm:spPr/>
      <dgm:t>
        <a:bodyPr/>
        <a:lstStyle/>
        <a:p>
          <a:endParaRPr lang="en-US"/>
        </a:p>
      </dgm:t>
    </dgm:pt>
    <dgm:pt modelId="{5C5BCED3-4634-4526-A8B9-B9A1FF9A0A2A}">
      <dgm:prSet phldrT="[Text]"/>
      <dgm:spPr/>
      <dgm:t>
        <a:bodyPr/>
        <a:lstStyle/>
        <a:p>
          <a:r>
            <a:rPr lang="en-US" dirty="0"/>
            <a:t>1990s</a:t>
          </a:r>
        </a:p>
      </dgm:t>
    </dgm:pt>
    <dgm:pt modelId="{75BA9A04-9190-4EB2-ABF2-49713DCBF95D}" type="parTrans" cxnId="{24A14D09-079A-418F-B704-0249976273D6}">
      <dgm:prSet/>
      <dgm:spPr/>
      <dgm:t>
        <a:bodyPr/>
        <a:lstStyle/>
        <a:p>
          <a:endParaRPr lang="en-US"/>
        </a:p>
      </dgm:t>
    </dgm:pt>
    <dgm:pt modelId="{060FEA2F-784D-4358-A686-AF46AF457006}" type="sibTrans" cxnId="{24A14D09-079A-418F-B704-0249976273D6}">
      <dgm:prSet/>
      <dgm:spPr/>
      <dgm:t>
        <a:bodyPr/>
        <a:lstStyle/>
        <a:p>
          <a:endParaRPr lang="en-US"/>
        </a:p>
      </dgm:t>
    </dgm:pt>
    <dgm:pt modelId="{DF06F24B-4079-4E81-AD2F-7F1D5BC1783F}">
      <dgm:prSet phldrT="[Text]"/>
      <dgm:spPr/>
      <dgm:t>
        <a:bodyPr/>
        <a:lstStyle/>
        <a:p>
          <a:r>
            <a:rPr lang="en-US" dirty="0"/>
            <a:t>2000s</a:t>
          </a:r>
        </a:p>
      </dgm:t>
    </dgm:pt>
    <dgm:pt modelId="{79F45ACF-1510-4F32-A05C-3C3964AA5FA8}" type="parTrans" cxnId="{62863FFD-863C-46A0-A9BB-65304847EFC5}">
      <dgm:prSet/>
      <dgm:spPr/>
      <dgm:t>
        <a:bodyPr/>
        <a:lstStyle/>
        <a:p>
          <a:endParaRPr lang="en-US"/>
        </a:p>
      </dgm:t>
    </dgm:pt>
    <dgm:pt modelId="{84318A07-908E-4FC1-908D-09E82AE573F9}" type="sibTrans" cxnId="{62863FFD-863C-46A0-A9BB-65304847EFC5}">
      <dgm:prSet/>
      <dgm:spPr/>
      <dgm:t>
        <a:bodyPr/>
        <a:lstStyle/>
        <a:p>
          <a:endParaRPr lang="en-US"/>
        </a:p>
      </dgm:t>
    </dgm:pt>
    <dgm:pt modelId="{23091838-CAF3-4AAA-B6BD-2B2C7F87DCBE}">
      <dgm:prSet phldrT="[Text]"/>
      <dgm:spPr/>
      <dgm:t>
        <a:bodyPr/>
        <a:lstStyle/>
        <a:p>
          <a:r>
            <a:rPr lang="en-US" dirty="0"/>
            <a:t>Cyberspace</a:t>
          </a:r>
        </a:p>
      </dgm:t>
    </dgm:pt>
    <dgm:pt modelId="{4B444197-D843-46C2-936B-96A6BFD24106}" type="parTrans" cxnId="{A533F5CD-4CD6-4F66-B691-B39685FA80F3}">
      <dgm:prSet/>
      <dgm:spPr/>
      <dgm:t>
        <a:bodyPr/>
        <a:lstStyle/>
        <a:p>
          <a:endParaRPr lang="en-US"/>
        </a:p>
      </dgm:t>
    </dgm:pt>
    <dgm:pt modelId="{4BC1B2B0-03D4-4DC3-B231-D74E7D0BE02E}" type="sibTrans" cxnId="{A533F5CD-4CD6-4F66-B691-B39685FA80F3}">
      <dgm:prSet/>
      <dgm:spPr/>
      <dgm:t>
        <a:bodyPr/>
        <a:lstStyle/>
        <a:p>
          <a:endParaRPr lang="en-US"/>
        </a:p>
      </dgm:t>
    </dgm:pt>
    <dgm:pt modelId="{40E4A6D4-9F25-4E8D-AE93-A65FB5228C1B}">
      <dgm:prSet phldrT="[Text]"/>
      <dgm:spPr/>
      <dgm:t>
        <a:bodyPr/>
        <a:lstStyle/>
        <a:p>
          <a:r>
            <a:rPr lang="en-US" dirty="0"/>
            <a:t>Birth of Internet</a:t>
          </a:r>
        </a:p>
      </dgm:t>
    </dgm:pt>
    <dgm:pt modelId="{B0475C77-CDBC-45BD-9AFC-874A45F986A7}" type="parTrans" cxnId="{BBFC3389-963F-4504-A9A9-638CE0ED3512}">
      <dgm:prSet/>
      <dgm:spPr/>
      <dgm:t>
        <a:bodyPr/>
        <a:lstStyle/>
        <a:p>
          <a:endParaRPr lang="en-US"/>
        </a:p>
      </dgm:t>
    </dgm:pt>
    <dgm:pt modelId="{A2331D6E-F885-475F-BF41-DFBC58777A96}" type="sibTrans" cxnId="{BBFC3389-963F-4504-A9A9-638CE0ED3512}">
      <dgm:prSet/>
      <dgm:spPr/>
      <dgm:t>
        <a:bodyPr/>
        <a:lstStyle/>
        <a:p>
          <a:endParaRPr lang="en-US"/>
        </a:p>
      </dgm:t>
    </dgm:pt>
    <dgm:pt modelId="{7E95CB8D-EA5C-4747-9D68-BA2E1CE2AC69}">
      <dgm:prSet phldrT="[Text]"/>
      <dgm:spPr/>
      <dgm:t>
        <a:bodyPr/>
        <a:lstStyle/>
        <a:p>
          <a:r>
            <a:rPr lang="en-US" dirty="0"/>
            <a:t>Term “metaverse” in Snow Crash</a:t>
          </a:r>
        </a:p>
      </dgm:t>
    </dgm:pt>
    <dgm:pt modelId="{227874D5-15F8-4A5F-8343-786A594C0F77}" type="parTrans" cxnId="{BBBDFBCD-13A6-4DED-98CB-B0BE8AF004BE}">
      <dgm:prSet/>
      <dgm:spPr/>
      <dgm:t>
        <a:bodyPr/>
        <a:lstStyle/>
        <a:p>
          <a:endParaRPr lang="en-US"/>
        </a:p>
      </dgm:t>
    </dgm:pt>
    <dgm:pt modelId="{92D271F7-E4A3-435F-8D57-AF41B0FB9C73}" type="sibTrans" cxnId="{BBBDFBCD-13A6-4DED-98CB-B0BE8AF004BE}">
      <dgm:prSet/>
      <dgm:spPr/>
      <dgm:t>
        <a:bodyPr/>
        <a:lstStyle/>
        <a:p>
          <a:endParaRPr lang="en-US"/>
        </a:p>
      </dgm:t>
    </dgm:pt>
    <dgm:pt modelId="{D9214888-91B6-4466-A13C-28CB60E82483}">
      <dgm:prSet phldrT="[Text]"/>
      <dgm:spPr/>
      <dgm:t>
        <a:bodyPr/>
        <a:lstStyle/>
        <a:p>
          <a:r>
            <a:rPr lang="en-US" dirty="0"/>
            <a:t>(2002) Digital Twins</a:t>
          </a:r>
        </a:p>
      </dgm:t>
    </dgm:pt>
    <dgm:pt modelId="{04BB3F39-09DE-484F-A938-8CEABFA70E9C}" type="parTrans" cxnId="{C16092EF-4A33-4470-B65B-A81A5CDDAFFC}">
      <dgm:prSet/>
      <dgm:spPr/>
      <dgm:t>
        <a:bodyPr/>
        <a:lstStyle/>
        <a:p>
          <a:endParaRPr lang="en-US"/>
        </a:p>
      </dgm:t>
    </dgm:pt>
    <dgm:pt modelId="{FEA6E759-A1B6-414A-945C-7C974D6F6BA3}" type="sibTrans" cxnId="{C16092EF-4A33-4470-B65B-A81A5CDDAFFC}">
      <dgm:prSet/>
      <dgm:spPr/>
      <dgm:t>
        <a:bodyPr/>
        <a:lstStyle/>
        <a:p>
          <a:endParaRPr lang="en-US"/>
        </a:p>
      </dgm:t>
    </dgm:pt>
    <dgm:pt modelId="{60261972-82D2-40E6-B5BD-F04FA772F3D6}">
      <dgm:prSet phldrT="[Text]"/>
      <dgm:spPr/>
      <dgm:t>
        <a:bodyPr/>
        <a:lstStyle/>
        <a:p>
          <a:r>
            <a:rPr lang="en-US" dirty="0"/>
            <a:t>(2003) Second Life (Online virtual world)</a:t>
          </a:r>
        </a:p>
      </dgm:t>
    </dgm:pt>
    <dgm:pt modelId="{7B0078E5-F390-476B-AB1B-5DD2088F32A0}" type="parTrans" cxnId="{A5EB6C49-861A-4C96-A736-4F41B939B20C}">
      <dgm:prSet/>
      <dgm:spPr/>
      <dgm:t>
        <a:bodyPr/>
        <a:lstStyle/>
        <a:p>
          <a:endParaRPr lang="en-US"/>
        </a:p>
      </dgm:t>
    </dgm:pt>
    <dgm:pt modelId="{BAA9C300-C2AD-4A70-9603-01C0CE77A2FA}" type="sibTrans" cxnId="{A5EB6C49-861A-4C96-A736-4F41B939B20C}">
      <dgm:prSet/>
      <dgm:spPr/>
      <dgm:t>
        <a:bodyPr/>
        <a:lstStyle/>
        <a:p>
          <a:endParaRPr lang="en-US"/>
        </a:p>
      </dgm:t>
    </dgm:pt>
    <dgm:pt modelId="{CC1D1CC9-5D1B-42F5-9100-8BC588348DB1}">
      <dgm:prSet phldrT="[Text]"/>
      <dgm:spPr/>
      <dgm:t>
        <a:bodyPr/>
        <a:lstStyle/>
        <a:p>
          <a:r>
            <a:rPr lang="en-US" dirty="0"/>
            <a:t>(2009) Bitcoin</a:t>
          </a:r>
        </a:p>
      </dgm:t>
    </dgm:pt>
    <dgm:pt modelId="{0B5A86E6-5441-4D73-A588-1995C4C512FD}" type="parTrans" cxnId="{45D790D0-F9E0-4A5A-AFAE-E543D616939F}">
      <dgm:prSet/>
      <dgm:spPr/>
      <dgm:t>
        <a:bodyPr/>
        <a:lstStyle/>
        <a:p>
          <a:endParaRPr lang="en-US"/>
        </a:p>
      </dgm:t>
    </dgm:pt>
    <dgm:pt modelId="{A5AD0CB8-4E11-45FF-9A97-9E74A3F3D0DC}" type="sibTrans" cxnId="{45D790D0-F9E0-4A5A-AFAE-E543D616939F}">
      <dgm:prSet/>
      <dgm:spPr/>
      <dgm:t>
        <a:bodyPr/>
        <a:lstStyle/>
        <a:p>
          <a:endParaRPr lang="en-US"/>
        </a:p>
      </dgm:t>
    </dgm:pt>
    <dgm:pt modelId="{B16AE5CC-EB7E-4F50-84F0-1FDF06BD9F16}">
      <dgm:prSet phldrT="[Text]"/>
      <dgm:spPr/>
      <dgm:t>
        <a:bodyPr/>
        <a:lstStyle/>
        <a:p>
          <a:r>
            <a:rPr lang="en-US" dirty="0"/>
            <a:t>(2010) Oculus Rift VR Prototype</a:t>
          </a:r>
        </a:p>
      </dgm:t>
    </dgm:pt>
    <dgm:pt modelId="{E9F0EB7F-C09B-4570-B953-209132A20FB7}" type="parTrans" cxnId="{808A1695-7519-475F-AE7E-F1C14589D5E0}">
      <dgm:prSet/>
      <dgm:spPr/>
      <dgm:t>
        <a:bodyPr/>
        <a:lstStyle/>
        <a:p>
          <a:endParaRPr lang="en-US"/>
        </a:p>
      </dgm:t>
    </dgm:pt>
    <dgm:pt modelId="{2F0B1CDB-6010-45A8-AD1F-D52B72E7213C}" type="sibTrans" cxnId="{808A1695-7519-475F-AE7E-F1C14589D5E0}">
      <dgm:prSet/>
      <dgm:spPr/>
      <dgm:t>
        <a:bodyPr/>
        <a:lstStyle/>
        <a:p>
          <a:endParaRPr lang="en-US"/>
        </a:p>
      </dgm:t>
    </dgm:pt>
    <dgm:pt modelId="{8CAD9DCE-FB9B-4A86-94CB-9C4D272326CA}">
      <dgm:prSet phldrT="[Text]"/>
      <dgm:spPr/>
      <dgm:t>
        <a:bodyPr/>
        <a:lstStyle/>
        <a:p>
          <a:r>
            <a:rPr lang="en-US" dirty="0"/>
            <a:t>(2012) NFT</a:t>
          </a:r>
        </a:p>
      </dgm:t>
    </dgm:pt>
    <dgm:pt modelId="{021C9D7A-8C3B-49FE-86E5-EDD0F60A6706}" type="parTrans" cxnId="{F865339F-F899-48BD-BDA6-EEBAB1A6167A}">
      <dgm:prSet/>
      <dgm:spPr/>
      <dgm:t>
        <a:bodyPr/>
        <a:lstStyle/>
        <a:p>
          <a:endParaRPr lang="en-US"/>
        </a:p>
      </dgm:t>
    </dgm:pt>
    <dgm:pt modelId="{95FA2AF2-4F17-459F-B695-60BAB5350294}" type="sibTrans" cxnId="{F865339F-F899-48BD-BDA6-EEBAB1A6167A}">
      <dgm:prSet/>
      <dgm:spPr/>
      <dgm:t>
        <a:bodyPr/>
        <a:lstStyle/>
        <a:p>
          <a:endParaRPr lang="en-US"/>
        </a:p>
      </dgm:t>
    </dgm:pt>
    <dgm:pt modelId="{8E99CAA1-2289-404D-965D-897280BB30F6}">
      <dgm:prSet phldrT="[Text]"/>
      <dgm:spPr/>
      <dgm:t>
        <a:bodyPr/>
        <a:lstStyle/>
        <a:p>
          <a:r>
            <a:rPr lang="en-US" dirty="0"/>
            <a:t>(2014) Consumer level - VR headset release </a:t>
          </a:r>
        </a:p>
      </dgm:t>
    </dgm:pt>
    <dgm:pt modelId="{B84DC1B3-1B22-42AA-9841-34DD9F323181}" type="parTrans" cxnId="{34B8084F-5890-4898-BBD4-E1621D697998}">
      <dgm:prSet/>
      <dgm:spPr/>
      <dgm:t>
        <a:bodyPr/>
        <a:lstStyle/>
        <a:p>
          <a:endParaRPr lang="en-US"/>
        </a:p>
      </dgm:t>
    </dgm:pt>
    <dgm:pt modelId="{999218DA-D5F5-4964-B973-D432425D055C}" type="sibTrans" cxnId="{34B8084F-5890-4898-BBD4-E1621D697998}">
      <dgm:prSet/>
      <dgm:spPr/>
      <dgm:t>
        <a:bodyPr/>
        <a:lstStyle/>
        <a:p>
          <a:endParaRPr lang="en-US"/>
        </a:p>
      </dgm:t>
    </dgm:pt>
    <dgm:pt modelId="{F9F776A6-7F29-4F87-AB33-0FB4FF407C9E}">
      <dgm:prSet phldrT="[Text]"/>
      <dgm:spPr/>
      <dgm:t>
        <a:bodyPr/>
        <a:lstStyle/>
        <a:p>
          <a:r>
            <a:rPr lang="en-US" dirty="0"/>
            <a:t>(2015) Ethereum </a:t>
          </a:r>
        </a:p>
      </dgm:t>
    </dgm:pt>
    <dgm:pt modelId="{0CBACB6B-2786-42AB-91A9-A5D7FB396B71}" type="parTrans" cxnId="{5CF207BB-7B79-4C45-8254-294115ACAC0C}">
      <dgm:prSet/>
      <dgm:spPr/>
      <dgm:t>
        <a:bodyPr/>
        <a:lstStyle/>
        <a:p>
          <a:endParaRPr lang="en-US"/>
        </a:p>
      </dgm:t>
    </dgm:pt>
    <dgm:pt modelId="{CE107EEB-85C1-425B-9BFA-50E649A17E12}" type="sibTrans" cxnId="{5CF207BB-7B79-4C45-8254-294115ACAC0C}">
      <dgm:prSet/>
      <dgm:spPr/>
      <dgm:t>
        <a:bodyPr/>
        <a:lstStyle/>
        <a:p>
          <a:endParaRPr lang="en-US"/>
        </a:p>
      </dgm:t>
    </dgm:pt>
    <dgm:pt modelId="{7656289E-D194-442F-9D2C-2C8C7ED50288}">
      <dgm:prSet phldrT="[Text]"/>
      <dgm:spPr/>
      <dgm:t>
        <a:bodyPr/>
        <a:lstStyle/>
        <a:p>
          <a:r>
            <a:rPr lang="en-US" dirty="0"/>
            <a:t>2020s</a:t>
          </a:r>
        </a:p>
      </dgm:t>
    </dgm:pt>
    <dgm:pt modelId="{065E92B6-1E23-436D-8A28-1AA2A8604F4B}" type="sibTrans" cxnId="{E8EBF5CA-7F27-4076-9E3D-51C4609873BF}">
      <dgm:prSet/>
      <dgm:spPr/>
      <dgm:t>
        <a:bodyPr/>
        <a:lstStyle/>
        <a:p>
          <a:endParaRPr lang="en-US"/>
        </a:p>
      </dgm:t>
    </dgm:pt>
    <dgm:pt modelId="{1BBA1AB8-F98A-44B2-ADD8-D616776A4285}" type="parTrans" cxnId="{E8EBF5CA-7F27-4076-9E3D-51C4609873BF}">
      <dgm:prSet/>
      <dgm:spPr/>
      <dgm:t>
        <a:bodyPr/>
        <a:lstStyle/>
        <a:p>
          <a:endParaRPr lang="en-US"/>
        </a:p>
      </dgm:t>
    </dgm:pt>
    <dgm:pt modelId="{E997BBDF-6722-420D-80F5-6BD25B46AB91}">
      <dgm:prSet phldrT="[Text]"/>
      <dgm:spPr/>
      <dgm:t>
        <a:bodyPr/>
        <a:lstStyle/>
        <a:p>
          <a:r>
            <a:rPr lang="en-US" dirty="0"/>
            <a:t>(2015) </a:t>
          </a:r>
          <a:r>
            <a:rPr lang="en-US" dirty="0" err="1"/>
            <a:t>Decentraland</a:t>
          </a:r>
          <a:endParaRPr lang="en-US" dirty="0"/>
        </a:p>
      </dgm:t>
    </dgm:pt>
    <dgm:pt modelId="{0F9A1A2A-5231-4165-AF65-C54D10911592}" type="parTrans" cxnId="{5586CBC1-6311-481C-A146-BDBF35DCBF5E}">
      <dgm:prSet/>
      <dgm:spPr/>
      <dgm:t>
        <a:bodyPr/>
        <a:lstStyle/>
        <a:p>
          <a:endParaRPr lang="en-US"/>
        </a:p>
      </dgm:t>
    </dgm:pt>
    <dgm:pt modelId="{89BDD0B4-B845-4135-98F7-7A33D7103CBE}" type="sibTrans" cxnId="{5586CBC1-6311-481C-A146-BDBF35DCBF5E}">
      <dgm:prSet/>
      <dgm:spPr/>
      <dgm:t>
        <a:bodyPr/>
        <a:lstStyle/>
        <a:p>
          <a:endParaRPr lang="en-US"/>
        </a:p>
      </dgm:t>
    </dgm:pt>
    <dgm:pt modelId="{6E748DFF-0398-491E-A263-731774FA6803}">
      <dgm:prSet phldrT="[Text]"/>
      <dgm:spPr/>
      <dgm:t>
        <a:bodyPr/>
        <a:lstStyle/>
        <a:p>
          <a:r>
            <a:rPr lang="en-US" dirty="0"/>
            <a:t>(2021) Microsoft Mesh</a:t>
          </a:r>
        </a:p>
      </dgm:t>
    </dgm:pt>
    <dgm:pt modelId="{C2EDADFD-AF4D-47CD-890C-1E5E615D5649}" type="parTrans" cxnId="{9F4B5A24-4431-4B2B-A8B7-7BE6186E54CC}">
      <dgm:prSet/>
      <dgm:spPr/>
      <dgm:t>
        <a:bodyPr/>
        <a:lstStyle/>
        <a:p>
          <a:endParaRPr lang="en-US"/>
        </a:p>
      </dgm:t>
    </dgm:pt>
    <dgm:pt modelId="{62F729B7-7186-40CB-B1B0-BC2001974AA3}" type="sibTrans" cxnId="{9F4B5A24-4431-4B2B-A8B7-7BE6186E54CC}">
      <dgm:prSet/>
      <dgm:spPr/>
      <dgm:t>
        <a:bodyPr/>
        <a:lstStyle/>
        <a:p>
          <a:endParaRPr lang="en-US"/>
        </a:p>
      </dgm:t>
    </dgm:pt>
    <dgm:pt modelId="{FC5D246B-A6FA-4C88-B59E-BA40AA61FA46}">
      <dgm:prSet phldrT="[Text]"/>
      <dgm:spPr/>
      <dgm:t>
        <a:bodyPr/>
        <a:lstStyle/>
        <a:p>
          <a:r>
            <a:rPr lang="en-US" dirty="0"/>
            <a:t>(2021) Meta Platform</a:t>
          </a:r>
        </a:p>
      </dgm:t>
    </dgm:pt>
    <dgm:pt modelId="{B152D154-C30E-4BB0-846B-74D5C22806B4}" type="parTrans" cxnId="{833A4042-975F-4FF3-8246-D8CA14ABA420}">
      <dgm:prSet/>
      <dgm:spPr/>
      <dgm:t>
        <a:bodyPr/>
        <a:lstStyle/>
        <a:p>
          <a:endParaRPr lang="en-US"/>
        </a:p>
      </dgm:t>
    </dgm:pt>
    <dgm:pt modelId="{D40A7C60-DF10-4B12-9E5A-15AFE2F764B3}" type="sibTrans" cxnId="{833A4042-975F-4FF3-8246-D8CA14ABA420}">
      <dgm:prSet/>
      <dgm:spPr/>
      <dgm:t>
        <a:bodyPr/>
        <a:lstStyle/>
        <a:p>
          <a:endParaRPr lang="en-US"/>
        </a:p>
      </dgm:t>
    </dgm:pt>
    <dgm:pt modelId="{C733E755-7513-44CD-AA11-0E703C69232A}" type="pres">
      <dgm:prSet presAssocID="{D914F0D3-4CDC-489D-AE2D-03AFBB71BC01}" presName="Name0" presStyleCnt="0">
        <dgm:presLayoutVars>
          <dgm:dir/>
          <dgm:animLvl val="lvl"/>
          <dgm:resizeHandles val="exact"/>
        </dgm:presLayoutVars>
      </dgm:prSet>
      <dgm:spPr/>
    </dgm:pt>
    <dgm:pt modelId="{29C27ED8-A9B1-49E9-BD06-04A7599276BA}" type="pres">
      <dgm:prSet presAssocID="{D914F0D3-4CDC-489D-AE2D-03AFBB71BC01}" presName="dummy" presStyleCnt="0"/>
      <dgm:spPr/>
    </dgm:pt>
    <dgm:pt modelId="{9B48AD60-E8EC-4104-BFA3-414D33E0A901}" type="pres">
      <dgm:prSet presAssocID="{D914F0D3-4CDC-489D-AE2D-03AFBB71BC01}" presName="linH" presStyleCnt="0"/>
      <dgm:spPr/>
    </dgm:pt>
    <dgm:pt modelId="{E5CFD6F8-4F18-46D3-ADA0-10D65D54D783}" type="pres">
      <dgm:prSet presAssocID="{D914F0D3-4CDC-489D-AE2D-03AFBB71BC01}" presName="padding1" presStyleCnt="0"/>
      <dgm:spPr/>
    </dgm:pt>
    <dgm:pt modelId="{0433D06A-59B2-4EA4-8573-7D453021700A}" type="pres">
      <dgm:prSet presAssocID="{382399F5-1AB9-484C-95DB-6E5637E3D32E}" presName="linV" presStyleCnt="0"/>
      <dgm:spPr/>
    </dgm:pt>
    <dgm:pt modelId="{D56B704B-FAD1-44D0-9A4D-81E01AE8D143}" type="pres">
      <dgm:prSet presAssocID="{382399F5-1AB9-484C-95DB-6E5637E3D32E}" presName="spVertical1" presStyleCnt="0"/>
      <dgm:spPr/>
    </dgm:pt>
    <dgm:pt modelId="{3D10985E-B11A-4EE5-8187-6D01E1C74D4C}" type="pres">
      <dgm:prSet presAssocID="{382399F5-1AB9-484C-95DB-6E5637E3D32E}" presName="parTx" presStyleLbl="revTx" presStyleIdx="0" presStyleCnt="14">
        <dgm:presLayoutVars>
          <dgm:chMax val="0"/>
          <dgm:chPref val="0"/>
          <dgm:bulletEnabled val="1"/>
        </dgm:presLayoutVars>
      </dgm:prSet>
      <dgm:spPr/>
    </dgm:pt>
    <dgm:pt modelId="{D599F400-4FC4-4756-9061-D3FFD0522A04}" type="pres">
      <dgm:prSet presAssocID="{382399F5-1AB9-484C-95DB-6E5637E3D32E}" presName="spVertical2" presStyleCnt="0"/>
      <dgm:spPr/>
    </dgm:pt>
    <dgm:pt modelId="{03176F2D-0DA4-4CD4-8963-797845F84B02}" type="pres">
      <dgm:prSet presAssocID="{382399F5-1AB9-484C-95DB-6E5637E3D32E}" presName="spVertical3" presStyleCnt="0"/>
      <dgm:spPr/>
    </dgm:pt>
    <dgm:pt modelId="{F83B620D-5DA2-423E-8326-730BA921307F}" type="pres">
      <dgm:prSet presAssocID="{382399F5-1AB9-484C-95DB-6E5637E3D32E}" presName="desTx" presStyleLbl="revTx" presStyleIdx="1" presStyleCnt="14">
        <dgm:presLayoutVars>
          <dgm:bulletEnabled val="1"/>
        </dgm:presLayoutVars>
      </dgm:prSet>
      <dgm:spPr/>
    </dgm:pt>
    <dgm:pt modelId="{4822ED65-B1DD-40E1-9A4E-6FC253CD604C}" type="pres">
      <dgm:prSet presAssocID="{8BEED367-8F90-4A53-885F-53317020632C}" presName="space" presStyleCnt="0"/>
      <dgm:spPr/>
    </dgm:pt>
    <dgm:pt modelId="{DBECDE6D-7497-4726-94E2-62A86CEF4E00}" type="pres">
      <dgm:prSet presAssocID="{3DB36EE9-BB37-4313-B49F-06AD76C00C63}" presName="linV" presStyleCnt="0"/>
      <dgm:spPr/>
    </dgm:pt>
    <dgm:pt modelId="{C362617E-2B1F-483A-B45E-01AB82478848}" type="pres">
      <dgm:prSet presAssocID="{3DB36EE9-BB37-4313-B49F-06AD76C00C63}" presName="spVertical1" presStyleCnt="0"/>
      <dgm:spPr/>
    </dgm:pt>
    <dgm:pt modelId="{9ED00568-FC72-471B-87BB-427CB2003FFC}" type="pres">
      <dgm:prSet presAssocID="{3DB36EE9-BB37-4313-B49F-06AD76C00C63}" presName="parTx" presStyleLbl="revTx" presStyleIdx="2" presStyleCnt="14">
        <dgm:presLayoutVars>
          <dgm:chMax val="0"/>
          <dgm:chPref val="0"/>
          <dgm:bulletEnabled val="1"/>
        </dgm:presLayoutVars>
      </dgm:prSet>
      <dgm:spPr/>
    </dgm:pt>
    <dgm:pt modelId="{AC2935A5-EAC9-4E36-AD33-753424EDCDE0}" type="pres">
      <dgm:prSet presAssocID="{3DB36EE9-BB37-4313-B49F-06AD76C00C63}" presName="spVertical2" presStyleCnt="0"/>
      <dgm:spPr/>
    </dgm:pt>
    <dgm:pt modelId="{35A519E8-C4F0-4084-B91C-D6DEE92CA2D8}" type="pres">
      <dgm:prSet presAssocID="{3DB36EE9-BB37-4313-B49F-06AD76C00C63}" presName="spVertical3" presStyleCnt="0"/>
      <dgm:spPr/>
    </dgm:pt>
    <dgm:pt modelId="{FC87C4B1-08BF-4E6A-A4AB-1989D1461A4F}" type="pres">
      <dgm:prSet presAssocID="{3DB36EE9-BB37-4313-B49F-06AD76C00C63}" presName="desTx" presStyleLbl="revTx" presStyleIdx="3" presStyleCnt="14">
        <dgm:presLayoutVars>
          <dgm:bulletEnabled val="1"/>
        </dgm:presLayoutVars>
      </dgm:prSet>
      <dgm:spPr/>
    </dgm:pt>
    <dgm:pt modelId="{3849925E-95ED-46AE-896F-451A2598B077}" type="pres">
      <dgm:prSet presAssocID="{00231016-ED28-4FDE-83C2-9FF3268B55CC}" presName="space" presStyleCnt="0"/>
      <dgm:spPr/>
    </dgm:pt>
    <dgm:pt modelId="{F5108563-8683-4633-BC15-8013586177EF}" type="pres">
      <dgm:prSet presAssocID="{178F3A80-1CC9-4913-B0E0-40A414F2D54D}" presName="linV" presStyleCnt="0"/>
      <dgm:spPr/>
    </dgm:pt>
    <dgm:pt modelId="{FC676C96-05C5-4D9D-899A-2C0912CCFC5F}" type="pres">
      <dgm:prSet presAssocID="{178F3A80-1CC9-4913-B0E0-40A414F2D54D}" presName="spVertical1" presStyleCnt="0"/>
      <dgm:spPr/>
    </dgm:pt>
    <dgm:pt modelId="{5BF2A4BE-E42B-4DED-96AD-06A79ED1B3D4}" type="pres">
      <dgm:prSet presAssocID="{178F3A80-1CC9-4913-B0E0-40A414F2D54D}" presName="parTx" presStyleLbl="revTx" presStyleIdx="4" presStyleCnt="14">
        <dgm:presLayoutVars>
          <dgm:chMax val="0"/>
          <dgm:chPref val="0"/>
          <dgm:bulletEnabled val="1"/>
        </dgm:presLayoutVars>
      </dgm:prSet>
      <dgm:spPr/>
    </dgm:pt>
    <dgm:pt modelId="{EE325746-00BF-4A06-B3A5-0136345F22EB}" type="pres">
      <dgm:prSet presAssocID="{178F3A80-1CC9-4913-B0E0-40A414F2D54D}" presName="spVertical2" presStyleCnt="0"/>
      <dgm:spPr/>
    </dgm:pt>
    <dgm:pt modelId="{E9460B6E-8AAE-47DE-89AF-6671FDBECBAE}" type="pres">
      <dgm:prSet presAssocID="{178F3A80-1CC9-4913-B0E0-40A414F2D54D}" presName="spVertical3" presStyleCnt="0"/>
      <dgm:spPr/>
    </dgm:pt>
    <dgm:pt modelId="{D76CA733-290C-41E5-B1D0-37ACF26F8CBD}" type="pres">
      <dgm:prSet presAssocID="{178F3A80-1CC9-4913-B0E0-40A414F2D54D}" presName="desTx" presStyleLbl="revTx" presStyleIdx="5" presStyleCnt="14">
        <dgm:presLayoutVars>
          <dgm:bulletEnabled val="1"/>
        </dgm:presLayoutVars>
      </dgm:prSet>
      <dgm:spPr/>
    </dgm:pt>
    <dgm:pt modelId="{DADA3D66-A380-4E26-A301-343CFF8FE346}" type="pres">
      <dgm:prSet presAssocID="{192727CB-ADAA-4DA0-B13D-5955456FE288}" presName="space" presStyleCnt="0"/>
      <dgm:spPr/>
    </dgm:pt>
    <dgm:pt modelId="{AB287C05-F4A7-4F00-89CF-4EAB06E71BF4}" type="pres">
      <dgm:prSet presAssocID="{5C5BCED3-4634-4526-A8B9-B9A1FF9A0A2A}" presName="linV" presStyleCnt="0"/>
      <dgm:spPr/>
    </dgm:pt>
    <dgm:pt modelId="{8FF07C0F-332B-4138-9FD4-BBD56DF9F8FD}" type="pres">
      <dgm:prSet presAssocID="{5C5BCED3-4634-4526-A8B9-B9A1FF9A0A2A}" presName="spVertical1" presStyleCnt="0"/>
      <dgm:spPr/>
    </dgm:pt>
    <dgm:pt modelId="{520AB21A-174B-44F6-BC64-14E440A73500}" type="pres">
      <dgm:prSet presAssocID="{5C5BCED3-4634-4526-A8B9-B9A1FF9A0A2A}" presName="parTx" presStyleLbl="revTx" presStyleIdx="6" presStyleCnt="14">
        <dgm:presLayoutVars>
          <dgm:chMax val="0"/>
          <dgm:chPref val="0"/>
          <dgm:bulletEnabled val="1"/>
        </dgm:presLayoutVars>
      </dgm:prSet>
      <dgm:spPr/>
    </dgm:pt>
    <dgm:pt modelId="{DD975F5D-1783-4923-933D-3F559DA654C4}" type="pres">
      <dgm:prSet presAssocID="{5C5BCED3-4634-4526-A8B9-B9A1FF9A0A2A}" presName="spVertical2" presStyleCnt="0"/>
      <dgm:spPr/>
    </dgm:pt>
    <dgm:pt modelId="{8CED5D41-6C87-48C8-B669-65110EA15D73}" type="pres">
      <dgm:prSet presAssocID="{5C5BCED3-4634-4526-A8B9-B9A1FF9A0A2A}" presName="spVertical3" presStyleCnt="0"/>
      <dgm:spPr/>
    </dgm:pt>
    <dgm:pt modelId="{673DD6A4-D23A-405E-B62C-D5B37E7B98B5}" type="pres">
      <dgm:prSet presAssocID="{5C5BCED3-4634-4526-A8B9-B9A1FF9A0A2A}" presName="desTx" presStyleLbl="revTx" presStyleIdx="7" presStyleCnt="14">
        <dgm:presLayoutVars>
          <dgm:bulletEnabled val="1"/>
        </dgm:presLayoutVars>
      </dgm:prSet>
      <dgm:spPr/>
    </dgm:pt>
    <dgm:pt modelId="{DC8F0206-54F3-4FDA-AC7A-B750B9D53F43}" type="pres">
      <dgm:prSet presAssocID="{060FEA2F-784D-4358-A686-AF46AF457006}" presName="space" presStyleCnt="0"/>
      <dgm:spPr/>
    </dgm:pt>
    <dgm:pt modelId="{71D90F5A-491A-464A-A870-ECA66A99B40A}" type="pres">
      <dgm:prSet presAssocID="{DF06F24B-4079-4E81-AD2F-7F1D5BC1783F}" presName="linV" presStyleCnt="0"/>
      <dgm:spPr/>
    </dgm:pt>
    <dgm:pt modelId="{86844411-8E71-445F-8867-B8E7F8868F81}" type="pres">
      <dgm:prSet presAssocID="{DF06F24B-4079-4E81-AD2F-7F1D5BC1783F}" presName="spVertical1" presStyleCnt="0"/>
      <dgm:spPr/>
    </dgm:pt>
    <dgm:pt modelId="{0F049180-FF79-438D-A53F-624768FCB06F}" type="pres">
      <dgm:prSet presAssocID="{DF06F24B-4079-4E81-AD2F-7F1D5BC1783F}" presName="parTx" presStyleLbl="revTx" presStyleIdx="8" presStyleCnt="14">
        <dgm:presLayoutVars>
          <dgm:chMax val="0"/>
          <dgm:chPref val="0"/>
          <dgm:bulletEnabled val="1"/>
        </dgm:presLayoutVars>
      </dgm:prSet>
      <dgm:spPr/>
    </dgm:pt>
    <dgm:pt modelId="{21EDF102-A820-4417-8B4C-477CDA69EAA4}" type="pres">
      <dgm:prSet presAssocID="{DF06F24B-4079-4E81-AD2F-7F1D5BC1783F}" presName="spVertical2" presStyleCnt="0"/>
      <dgm:spPr/>
    </dgm:pt>
    <dgm:pt modelId="{25F219DB-F5E4-44E6-9814-C2CBA6AD51E7}" type="pres">
      <dgm:prSet presAssocID="{DF06F24B-4079-4E81-AD2F-7F1D5BC1783F}" presName="spVertical3" presStyleCnt="0"/>
      <dgm:spPr/>
    </dgm:pt>
    <dgm:pt modelId="{F7DC2DAE-5E18-4938-909C-9247D8ABDCE4}" type="pres">
      <dgm:prSet presAssocID="{DF06F24B-4079-4E81-AD2F-7F1D5BC1783F}" presName="desTx" presStyleLbl="revTx" presStyleIdx="9" presStyleCnt="14">
        <dgm:presLayoutVars>
          <dgm:bulletEnabled val="1"/>
        </dgm:presLayoutVars>
      </dgm:prSet>
      <dgm:spPr/>
    </dgm:pt>
    <dgm:pt modelId="{1DBEF634-23FA-4F16-AA4F-B8FAE9F6CE02}" type="pres">
      <dgm:prSet presAssocID="{84318A07-908E-4FC1-908D-09E82AE573F9}" presName="space" presStyleCnt="0"/>
      <dgm:spPr/>
    </dgm:pt>
    <dgm:pt modelId="{14AE1753-E434-48D5-85B9-A6386ABB8D5D}" type="pres">
      <dgm:prSet presAssocID="{2193DD72-1C93-4873-8DFF-C3710DF9D928}" presName="linV" presStyleCnt="0"/>
      <dgm:spPr/>
    </dgm:pt>
    <dgm:pt modelId="{9FFC9D85-08F8-4F38-AB47-6CD39C249782}" type="pres">
      <dgm:prSet presAssocID="{2193DD72-1C93-4873-8DFF-C3710DF9D928}" presName="spVertical1" presStyleCnt="0"/>
      <dgm:spPr/>
    </dgm:pt>
    <dgm:pt modelId="{03930201-4BE1-4DC8-92CA-9F029F02C80E}" type="pres">
      <dgm:prSet presAssocID="{2193DD72-1C93-4873-8DFF-C3710DF9D928}" presName="parTx" presStyleLbl="revTx" presStyleIdx="10" presStyleCnt="14">
        <dgm:presLayoutVars>
          <dgm:chMax val="0"/>
          <dgm:chPref val="0"/>
          <dgm:bulletEnabled val="1"/>
        </dgm:presLayoutVars>
      </dgm:prSet>
      <dgm:spPr/>
    </dgm:pt>
    <dgm:pt modelId="{558F8B96-8CFD-42C4-8D5B-D6E152EEF889}" type="pres">
      <dgm:prSet presAssocID="{2193DD72-1C93-4873-8DFF-C3710DF9D928}" presName="spVertical2" presStyleCnt="0"/>
      <dgm:spPr/>
    </dgm:pt>
    <dgm:pt modelId="{D338FF35-2EF3-4FF7-ACD8-8B22C0A6899D}" type="pres">
      <dgm:prSet presAssocID="{2193DD72-1C93-4873-8DFF-C3710DF9D928}" presName="spVertical3" presStyleCnt="0"/>
      <dgm:spPr/>
    </dgm:pt>
    <dgm:pt modelId="{7563BDBD-A37F-43C6-B6A8-7BB3AC31007F}" type="pres">
      <dgm:prSet presAssocID="{2193DD72-1C93-4873-8DFF-C3710DF9D928}" presName="desTx" presStyleLbl="revTx" presStyleIdx="11" presStyleCnt="14">
        <dgm:presLayoutVars>
          <dgm:bulletEnabled val="1"/>
        </dgm:presLayoutVars>
      </dgm:prSet>
      <dgm:spPr/>
    </dgm:pt>
    <dgm:pt modelId="{BE4E5B31-D574-49DE-91D1-3DC5B7B07827}" type="pres">
      <dgm:prSet presAssocID="{890BF2A3-BA33-4AF8-9550-A88AF79ED9EC}" presName="space" presStyleCnt="0"/>
      <dgm:spPr/>
    </dgm:pt>
    <dgm:pt modelId="{6CE5646D-78D8-4F2F-9F1E-A98B3BE351CF}" type="pres">
      <dgm:prSet presAssocID="{7656289E-D194-442F-9D2C-2C8C7ED50288}" presName="linV" presStyleCnt="0"/>
      <dgm:spPr/>
    </dgm:pt>
    <dgm:pt modelId="{9598DA89-17CD-4B26-BE81-54F5DB5812B9}" type="pres">
      <dgm:prSet presAssocID="{7656289E-D194-442F-9D2C-2C8C7ED50288}" presName="spVertical1" presStyleCnt="0"/>
      <dgm:spPr/>
    </dgm:pt>
    <dgm:pt modelId="{15D92A9C-0487-4569-8695-AA215B66DB51}" type="pres">
      <dgm:prSet presAssocID="{7656289E-D194-442F-9D2C-2C8C7ED50288}" presName="parTx" presStyleLbl="revTx" presStyleIdx="12" presStyleCnt="14">
        <dgm:presLayoutVars>
          <dgm:chMax val="0"/>
          <dgm:chPref val="0"/>
          <dgm:bulletEnabled val="1"/>
        </dgm:presLayoutVars>
      </dgm:prSet>
      <dgm:spPr/>
    </dgm:pt>
    <dgm:pt modelId="{C9F13120-E7B6-4609-8F9F-75C449BF4377}" type="pres">
      <dgm:prSet presAssocID="{7656289E-D194-442F-9D2C-2C8C7ED50288}" presName="spVertical2" presStyleCnt="0"/>
      <dgm:spPr/>
    </dgm:pt>
    <dgm:pt modelId="{456429D4-7C33-40B3-B776-7146AB8FE85C}" type="pres">
      <dgm:prSet presAssocID="{7656289E-D194-442F-9D2C-2C8C7ED50288}" presName="spVertical3" presStyleCnt="0"/>
      <dgm:spPr/>
    </dgm:pt>
    <dgm:pt modelId="{9B93BF46-6C00-4B19-81AD-B23A886C5DA1}" type="pres">
      <dgm:prSet presAssocID="{7656289E-D194-442F-9D2C-2C8C7ED50288}" presName="desTx" presStyleLbl="revTx" presStyleIdx="13" presStyleCnt="14">
        <dgm:presLayoutVars>
          <dgm:bulletEnabled val="1"/>
        </dgm:presLayoutVars>
      </dgm:prSet>
      <dgm:spPr/>
    </dgm:pt>
    <dgm:pt modelId="{FA560EE6-15D2-4F52-A3D3-E3CD61A966E5}" type="pres">
      <dgm:prSet presAssocID="{D914F0D3-4CDC-489D-AE2D-03AFBB71BC01}" presName="padding2" presStyleCnt="0"/>
      <dgm:spPr/>
    </dgm:pt>
    <dgm:pt modelId="{874DB9AA-0E38-4E72-9D1D-1881D7B1AD68}" type="pres">
      <dgm:prSet presAssocID="{D914F0D3-4CDC-489D-AE2D-03AFBB71BC01}" presName="negArrow" presStyleCnt="0"/>
      <dgm:spPr/>
    </dgm:pt>
    <dgm:pt modelId="{9AA037E8-5D27-45A6-9460-3C5E0E512B70}" type="pres">
      <dgm:prSet presAssocID="{D914F0D3-4CDC-489D-AE2D-03AFBB71BC01}" presName="backgroundArrow" presStyleLbl="node1" presStyleIdx="0" presStyleCnt="1"/>
      <dgm:spPr/>
    </dgm:pt>
  </dgm:ptLst>
  <dgm:cxnLst>
    <dgm:cxn modelId="{24A14D09-079A-418F-B704-0249976273D6}" srcId="{D914F0D3-4CDC-489D-AE2D-03AFBB71BC01}" destId="{5C5BCED3-4634-4526-A8B9-B9A1FF9A0A2A}" srcOrd="3" destOrd="0" parTransId="{75BA9A04-9190-4EB2-ABF2-49713DCBF95D}" sibTransId="{060FEA2F-784D-4358-A686-AF46AF457006}"/>
    <dgm:cxn modelId="{1C908B0C-7D13-4594-AF4D-CE5C2E5C065D}" srcId="{3DB36EE9-BB37-4313-B49F-06AD76C00C63}" destId="{DFA88EC4-5B64-4310-AC2B-3781F7245129}" srcOrd="0" destOrd="0" parTransId="{F778942A-80A5-49C7-A068-3F987A7F3DBB}" sibTransId="{DFBE27FC-DC2D-4925-8D60-01596E2B4C1E}"/>
    <dgm:cxn modelId="{6EA11F16-B7EC-489F-B34B-68361666A27E}" srcId="{382399F5-1AB9-484C-95DB-6E5637E3D32E}" destId="{199BBA76-6A2B-4EFE-88CE-8A2522BAE5A7}" srcOrd="1" destOrd="0" parTransId="{AEDCD24C-28FE-47D3-908F-B23A0DF72F28}" sibTransId="{35CE0204-D8CC-4313-91E4-19B6B55EE85D}"/>
    <dgm:cxn modelId="{D6F31B1A-770F-4DBF-8043-46B1960B9556}" type="presOf" srcId="{2193DD72-1C93-4873-8DFF-C3710DF9D928}" destId="{03930201-4BE1-4DC8-92CA-9F029F02C80E}" srcOrd="0" destOrd="0" presId="urn:microsoft.com/office/officeart/2005/8/layout/hProcess3"/>
    <dgm:cxn modelId="{F3D7501B-3316-4E0A-BBB8-4B2F128EE40B}" type="presOf" srcId="{DFA88EC4-5B64-4310-AC2B-3781F7245129}" destId="{FC87C4B1-08BF-4E6A-A4AB-1989D1461A4F}" srcOrd="0" destOrd="0" presId="urn:microsoft.com/office/officeart/2005/8/layout/hProcess3"/>
    <dgm:cxn modelId="{BED5021C-6219-4B8C-BB16-BF6CA87C4961}" type="presOf" srcId="{40E4A6D4-9F25-4E8D-AE93-A65FB5228C1B}" destId="{673DD6A4-D23A-405E-B62C-D5B37E7B98B5}" srcOrd="0" destOrd="0" presId="urn:microsoft.com/office/officeart/2005/8/layout/hProcess3"/>
    <dgm:cxn modelId="{67D05420-038F-4C4D-AEC2-2993B3DD9708}" type="presOf" srcId="{FC5D246B-A6FA-4C88-B59E-BA40AA61FA46}" destId="{9B93BF46-6C00-4B19-81AD-B23A886C5DA1}" srcOrd="0" destOrd="1" presId="urn:microsoft.com/office/officeart/2005/8/layout/hProcess3"/>
    <dgm:cxn modelId="{127D5424-C2F6-4B65-900C-D61F498C2C34}" type="presOf" srcId="{DF06F24B-4079-4E81-AD2F-7F1D5BC1783F}" destId="{0F049180-FF79-438D-A53F-624768FCB06F}" srcOrd="0" destOrd="0" presId="urn:microsoft.com/office/officeart/2005/8/layout/hProcess3"/>
    <dgm:cxn modelId="{9F4B5A24-4431-4B2B-A8B7-7BE6186E54CC}" srcId="{7656289E-D194-442F-9D2C-2C8C7ED50288}" destId="{6E748DFF-0398-491E-A263-731774FA6803}" srcOrd="0" destOrd="0" parTransId="{C2EDADFD-AF4D-47CD-890C-1E5E615D5649}" sibTransId="{62F729B7-7186-40CB-B1B0-BC2001974AA3}"/>
    <dgm:cxn modelId="{DC204530-90B1-4E42-AE63-140CC1355DBC}" type="presOf" srcId="{3DB36EE9-BB37-4313-B49F-06AD76C00C63}" destId="{9ED00568-FC72-471B-87BB-427CB2003FFC}" srcOrd="0" destOrd="0" presId="urn:microsoft.com/office/officeart/2005/8/layout/hProcess3"/>
    <dgm:cxn modelId="{D5345F31-418E-4AEE-9102-BF217BFD03C8}" type="presOf" srcId="{F9F776A6-7F29-4F87-AB33-0FB4FF407C9E}" destId="{7563BDBD-A37F-43C6-B6A8-7BB3AC31007F}" srcOrd="0" destOrd="3" presId="urn:microsoft.com/office/officeart/2005/8/layout/hProcess3"/>
    <dgm:cxn modelId="{D5D33A33-E662-4E5A-8A78-235DEFD649A1}" type="presOf" srcId="{6E748DFF-0398-491E-A263-731774FA6803}" destId="{9B93BF46-6C00-4B19-81AD-B23A886C5DA1}" srcOrd="0" destOrd="0" presId="urn:microsoft.com/office/officeart/2005/8/layout/hProcess3"/>
    <dgm:cxn modelId="{D77BF63D-0797-4E03-B56E-8D494DC51802}" type="presOf" srcId="{178F3A80-1CC9-4913-B0E0-40A414F2D54D}" destId="{5BF2A4BE-E42B-4DED-96AD-06A79ED1B3D4}" srcOrd="0" destOrd="0" presId="urn:microsoft.com/office/officeart/2005/8/layout/hProcess3"/>
    <dgm:cxn modelId="{07456C5C-BDAA-429E-B81D-D89839B7EEEB}" type="presOf" srcId="{DA40BDD7-5CD6-4CC3-BECE-79AC1FBD4D46}" destId="{F83B620D-5DA2-423E-8326-730BA921307F}" srcOrd="0" destOrd="0" presId="urn:microsoft.com/office/officeart/2005/8/layout/hProcess3"/>
    <dgm:cxn modelId="{833A4042-975F-4FF3-8246-D8CA14ABA420}" srcId="{7656289E-D194-442F-9D2C-2C8C7ED50288}" destId="{FC5D246B-A6FA-4C88-B59E-BA40AA61FA46}" srcOrd="1" destOrd="0" parTransId="{B152D154-C30E-4BB0-846B-74D5C22806B4}" sibTransId="{D40A7C60-DF10-4B12-9E5A-15AFE2F764B3}"/>
    <dgm:cxn modelId="{039C5062-E1CE-49C6-A889-015E2740E301}" type="presOf" srcId="{8E99CAA1-2289-404D-965D-897280BB30F6}" destId="{7563BDBD-A37F-43C6-B6A8-7BB3AC31007F}" srcOrd="0" destOrd="2" presId="urn:microsoft.com/office/officeart/2005/8/layout/hProcess3"/>
    <dgm:cxn modelId="{A5EB6C49-861A-4C96-A736-4F41B939B20C}" srcId="{DF06F24B-4079-4E81-AD2F-7F1D5BC1783F}" destId="{60261972-82D2-40E6-B5BD-F04FA772F3D6}" srcOrd="1" destOrd="0" parTransId="{7B0078E5-F390-476B-AB1B-5DD2088F32A0}" sibTransId="{BAA9C300-C2AD-4A70-9603-01C0CE77A2FA}"/>
    <dgm:cxn modelId="{1046FD4E-552F-46EC-B469-9CF2B91A3456}" srcId="{D914F0D3-4CDC-489D-AE2D-03AFBB71BC01}" destId="{2193DD72-1C93-4873-8DFF-C3710DF9D928}" srcOrd="5" destOrd="0" parTransId="{08E3528E-4B27-456A-8AE0-94611718AAD6}" sibTransId="{890BF2A3-BA33-4AF8-9550-A88AF79ED9EC}"/>
    <dgm:cxn modelId="{34B8084F-5890-4898-BBD4-E1621D697998}" srcId="{2193DD72-1C93-4873-8DFF-C3710DF9D928}" destId="{8E99CAA1-2289-404D-965D-897280BB30F6}" srcOrd="2" destOrd="0" parTransId="{B84DC1B3-1B22-42AA-9841-34DD9F323181}" sibTransId="{999218DA-D5F5-4964-B973-D432425D055C}"/>
    <dgm:cxn modelId="{A17A5F70-94E7-4BA8-8002-77C63F1EA9FE}" type="presOf" srcId="{7656289E-D194-442F-9D2C-2C8C7ED50288}" destId="{15D92A9C-0487-4569-8695-AA215B66DB51}" srcOrd="0" destOrd="0" presId="urn:microsoft.com/office/officeart/2005/8/layout/hProcess3"/>
    <dgm:cxn modelId="{2CCFEF50-02B6-4BE5-812B-E7A83CDE5027}" type="presOf" srcId="{8CAD9DCE-FB9B-4A86-94CB-9C4D272326CA}" destId="{7563BDBD-A37F-43C6-B6A8-7BB3AC31007F}" srcOrd="0" destOrd="1" presId="urn:microsoft.com/office/officeart/2005/8/layout/hProcess3"/>
    <dgm:cxn modelId="{080F1358-A373-48BD-85C7-B52A01E7525C}" type="presOf" srcId="{D9214888-91B6-4466-A13C-28CB60E82483}" destId="{F7DC2DAE-5E18-4938-909C-9247D8ABDCE4}" srcOrd="0" destOrd="0" presId="urn:microsoft.com/office/officeart/2005/8/layout/hProcess3"/>
    <dgm:cxn modelId="{6F3A0B7C-740D-42B9-ABF4-8866F13F32B1}" type="presOf" srcId="{60261972-82D2-40E6-B5BD-F04FA772F3D6}" destId="{F7DC2DAE-5E18-4938-909C-9247D8ABDCE4}" srcOrd="0" destOrd="1" presId="urn:microsoft.com/office/officeart/2005/8/layout/hProcess3"/>
    <dgm:cxn modelId="{2F27E17C-27DD-4634-9685-B8DFF35B0246}" srcId="{382399F5-1AB9-484C-95DB-6E5637E3D32E}" destId="{DA40BDD7-5CD6-4CC3-BECE-79AC1FBD4D46}" srcOrd="0" destOrd="0" parTransId="{D352E84D-D624-4501-90AB-C28A7348A0D0}" sibTransId="{FB6B4B64-FEA9-4831-842A-7E5CDB87C0E1}"/>
    <dgm:cxn modelId="{BBFC3389-963F-4504-A9A9-638CE0ED3512}" srcId="{5C5BCED3-4634-4526-A8B9-B9A1FF9A0A2A}" destId="{40E4A6D4-9F25-4E8D-AE93-A65FB5228C1B}" srcOrd="0" destOrd="0" parTransId="{B0475C77-CDBC-45BD-9AFC-874A45F986A7}" sibTransId="{A2331D6E-F885-475F-BF41-DFBC58777A96}"/>
    <dgm:cxn modelId="{605CE58B-136F-4360-9D9F-46B94228D467}" type="presOf" srcId="{199BBA76-6A2B-4EFE-88CE-8A2522BAE5A7}" destId="{F83B620D-5DA2-423E-8326-730BA921307F}" srcOrd="0" destOrd="1" presId="urn:microsoft.com/office/officeart/2005/8/layout/hProcess3"/>
    <dgm:cxn modelId="{D8E60E8F-6437-4BA0-A10D-D456CB6A9FC4}" type="presOf" srcId="{5C5BCED3-4634-4526-A8B9-B9A1FF9A0A2A}" destId="{520AB21A-174B-44F6-BC64-14E440A73500}" srcOrd="0" destOrd="0" presId="urn:microsoft.com/office/officeart/2005/8/layout/hProcess3"/>
    <dgm:cxn modelId="{808A1695-7519-475F-AE7E-F1C14589D5E0}" srcId="{2193DD72-1C93-4873-8DFF-C3710DF9D928}" destId="{B16AE5CC-EB7E-4F50-84F0-1FDF06BD9F16}" srcOrd="0" destOrd="0" parTransId="{E9F0EB7F-C09B-4570-B953-209132A20FB7}" sibTransId="{2F0B1CDB-6010-45A8-AD1F-D52B72E7213C}"/>
    <dgm:cxn modelId="{BB14BF98-2132-4288-8535-0DAB7F92C089}" type="presOf" srcId="{CC1D1CC9-5D1B-42F5-9100-8BC588348DB1}" destId="{F7DC2DAE-5E18-4938-909C-9247D8ABDCE4}" srcOrd="0" destOrd="2" presId="urn:microsoft.com/office/officeart/2005/8/layout/hProcess3"/>
    <dgm:cxn modelId="{F865339F-F899-48BD-BDA6-EEBAB1A6167A}" srcId="{2193DD72-1C93-4873-8DFF-C3710DF9D928}" destId="{8CAD9DCE-FB9B-4A86-94CB-9C4D272326CA}" srcOrd="1" destOrd="0" parTransId="{021C9D7A-8C3B-49FE-86E5-EDD0F60A6706}" sibTransId="{95FA2AF2-4F17-459F-B695-60BAB5350294}"/>
    <dgm:cxn modelId="{C410BFA6-8298-4B1D-A1BE-1698212C5A68}" srcId="{D914F0D3-4CDC-489D-AE2D-03AFBB71BC01}" destId="{382399F5-1AB9-484C-95DB-6E5637E3D32E}" srcOrd="0" destOrd="0" parTransId="{8E72D56A-F992-4EB2-A07E-3500B352FABB}" sibTransId="{8BEED367-8F90-4A53-885F-53317020632C}"/>
    <dgm:cxn modelId="{7E1EC8A9-764A-4513-AE36-E88E51C301D3}" type="presOf" srcId="{D914F0D3-4CDC-489D-AE2D-03AFBB71BC01}" destId="{C733E755-7513-44CD-AA11-0E703C69232A}" srcOrd="0" destOrd="0" presId="urn:microsoft.com/office/officeart/2005/8/layout/hProcess3"/>
    <dgm:cxn modelId="{F58A0DB3-E788-4E4C-A235-46F969CB02BD}" type="presOf" srcId="{B16AE5CC-EB7E-4F50-84F0-1FDF06BD9F16}" destId="{7563BDBD-A37F-43C6-B6A8-7BB3AC31007F}" srcOrd="0" destOrd="0" presId="urn:microsoft.com/office/officeart/2005/8/layout/hProcess3"/>
    <dgm:cxn modelId="{5CF207BB-7B79-4C45-8254-294115ACAC0C}" srcId="{2193DD72-1C93-4873-8DFF-C3710DF9D928}" destId="{F9F776A6-7F29-4F87-AB33-0FB4FF407C9E}" srcOrd="3" destOrd="0" parTransId="{0CBACB6B-2786-42AB-91A9-A5D7FB396B71}" sibTransId="{CE107EEB-85C1-425B-9BFA-50E649A17E12}"/>
    <dgm:cxn modelId="{5586CBC1-6311-481C-A146-BDBF35DCBF5E}" srcId="{2193DD72-1C93-4873-8DFF-C3710DF9D928}" destId="{E997BBDF-6722-420D-80F5-6BD25B46AB91}" srcOrd="4" destOrd="0" parTransId="{0F9A1A2A-5231-4165-AF65-C54D10911592}" sibTransId="{89BDD0B4-B845-4135-98F7-7A33D7103CBE}"/>
    <dgm:cxn modelId="{E8EBF5CA-7F27-4076-9E3D-51C4609873BF}" srcId="{D914F0D3-4CDC-489D-AE2D-03AFBB71BC01}" destId="{7656289E-D194-442F-9D2C-2C8C7ED50288}" srcOrd="6" destOrd="0" parTransId="{1BBA1AB8-F98A-44B2-ADD8-D616776A4285}" sibTransId="{065E92B6-1E23-436D-8A28-1AA2A8604F4B}"/>
    <dgm:cxn modelId="{6B80F5CC-B0D2-4A68-904A-28DCFC5865B2}" type="presOf" srcId="{7E95CB8D-EA5C-4747-9D68-BA2E1CE2AC69}" destId="{673DD6A4-D23A-405E-B62C-D5B37E7B98B5}" srcOrd="0" destOrd="1" presId="urn:microsoft.com/office/officeart/2005/8/layout/hProcess3"/>
    <dgm:cxn modelId="{A533F5CD-4CD6-4F66-B691-B39685FA80F3}" srcId="{178F3A80-1CC9-4913-B0E0-40A414F2D54D}" destId="{23091838-CAF3-4AAA-B6BD-2B2C7F87DCBE}" srcOrd="0" destOrd="0" parTransId="{4B444197-D843-46C2-936B-96A6BFD24106}" sibTransId="{4BC1B2B0-03D4-4DC3-B231-D74E7D0BE02E}"/>
    <dgm:cxn modelId="{BBBDFBCD-13A6-4DED-98CB-B0BE8AF004BE}" srcId="{5C5BCED3-4634-4526-A8B9-B9A1FF9A0A2A}" destId="{7E95CB8D-EA5C-4747-9D68-BA2E1CE2AC69}" srcOrd="1" destOrd="0" parTransId="{227874D5-15F8-4A5F-8343-786A594C0F77}" sibTransId="{92D271F7-E4A3-435F-8D57-AF41B0FB9C73}"/>
    <dgm:cxn modelId="{45D790D0-F9E0-4A5A-AFAE-E543D616939F}" srcId="{DF06F24B-4079-4E81-AD2F-7F1D5BC1783F}" destId="{CC1D1CC9-5D1B-42F5-9100-8BC588348DB1}" srcOrd="2" destOrd="0" parTransId="{0B5A86E6-5441-4D73-A588-1995C4C512FD}" sibTransId="{A5AD0CB8-4E11-45FF-9A97-9E74A3F3D0DC}"/>
    <dgm:cxn modelId="{B0F656E3-65F8-4595-A98C-1EB028F9852C}" srcId="{D914F0D3-4CDC-489D-AE2D-03AFBB71BC01}" destId="{178F3A80-1CC9-4913-B0E0-40A414F2D54D}" srcOrd="2" destOrd="0" parTransId="{7A30B199-48B7-4D56-ADF3-C6B7C74F071F}" sibTransId="{192727CB-ADAA-4DA0-B13D-5955456FE288}"/>
    <dgm:cxn modelId="{C16092EF-4A33-4470-B65B-A81A5CDDAFFC}" srcId="{DF06F24B-4079-4E81-AD2F-7F1D5BC1783F}" destId="{D9214888-91B6-4466-A13C-28CB60E82483}" srcOrd="0" destOrd="0" parTransId="{04BB3F39-09DE-484F-A938-8CEABFA70E9C}" sibTransId="{FEA6E759-A1B6-414A-945C-7C974D6F6BA3}"/>
    <dgm:cxn modelId="{772B0BF4-9DF0-4D3A-A79F-7E6184B0B65E}" type="presOf" srcId="{23091838-CAF3-4AAA-B6BD-2B2C7F87DCBE}" destId="{D76CA733-290C-41E5-B1D0-37ACF26F8CBD}" srcOrd="0" destOrd="0" presId="urn:microsoft.com/office/officeart/2005/8/layout/hProcess3"/>
    <dgm:cxn modelId="{3B5176F6-2A36-4592-BDAA-D9BA56E4484A}" type="presOf" srcId="{382399F5-1AB9-484C-95DB-6E5637E3D32E}" destId="{3D10985E-B11A-4EE5-8187-6D01E1C74D4C}" srcOrd="0" destOrd="0" presId="urn:microsoft.com/office/officeart/2005/8/layout/hProcess3"/>
    <dgm:cxn modelId="{62863FFD-863C-46A0-A9BB-65304847EFC5}" srcId="{D914F0D3-4CDC-489D-AE2D-03AFBB71BC01}" destId="{DF06F24B-4079-4E81-AD2F-7F1D5BC1783F}" srcOrd="4" destOrd="0" parTransId="{79F45ACF-1510-4F32-A05C-3C3964AA5FA8}" sibTransId="{84318A07-908E-4FC1-908D-09E82AE573F9}"/>
    <dgm:cxn modelId="{DB5483FF-E28D-4FE0-9B27-C6C4D0F82F87}" type="presOf" srcId="{E997BBDF-6722-420D-80F5-6BD25B46AB91}" destId="{7563BDBD-A37F-43C6-B6A8-7BB3AC31007F}" srcOrd="0" destOrd="4" presId="urn:microsoft.com/office/officeart/2005/8/layout/hProcess3"/>
    <dgm:cxn modelId="{AD5CABFF-6E1E-4E5F-9B58-5E071FF90EDD}" srcId="{D914F0D3-4CDC-489D-AE2D-03AFBB71BC01}" destId="{3DB36EE9-BB37-4313-B49F-06AD76C00C63}" srcOrd="1" destOrd="0" parTransId="{33639EA0-F6D4-4EEA-91DD-52C41D3F018D}" sibTransId="{00231016-ED28-4FDE-83C2-9FF3268B55CC}"/>
    <dgm:cxn modelId="{B85D7D5A-BA64-43D0-84FF-CC460CA5D07F}" type="presParOf" srcId="{C733E755-7513-44CD-AA11-0E703C69232A}" destId="{29C27ED8-A9B1-49E9-BD06-04A7599276BA}" srcOrd="0" destOrd="0" presId="urn:microsoft.com/office/officeart/2005/8/layout/hProcess3"/>
    <dgm:cxn modelId="{7161CA6D-D3F5-4094-AB04-2E468A0222F9}" type="presParOf" srcId="{C733E755-7513-44CD-AA11-0E703C69232A}" destId="{9B48AD60-E8EC-4104-BFA3-414D33E0A901}" srcOrd="1" destOrd="0" presId="urn:microsoft.com/office/officeart/2005/8/layout/hProcess3"/>
    <dgm:cxn modelId="{BCE347C1-223D-4498-A1B4-9F2D0F67213B}" type="presParOf" srcId="{9B48AD60-E8EC-4104-BFA3-414D33E0A901}" destId="{E5CFD6F8-4F18-46D3-ADA0-10D65D54D783}" srcOrd="0" destOrd="0" presId="urn:microsoft.com/office/officeart/2005/8/layout/hProcess3"/>
    <dgm:cxn modelId="{B3B0B889-95DF-4EF8-A80C-E3659E8B45B3}" type="presParOf" srcId="{9B48AD60-E8EC-4104-BFA3-414D33E0A901}" destId="{0433D06A-59B2-4EA4-8573-7D453021700A}" srcOrd="1" destOrd="0" presId="urn:microsoft.com/office/officeart/2005/8/layout/hProcess3"/>
    <dgm:cxn modelId="{F55479B7-97E1-4FDA-96A6-5C17E3F31964}" type="presParOf" srcId="{0433D06A-59B2-4EA4-8573-7D453021700A}" destId="{D56B704B-FAD1-44D0-9A4D-81E01AE8D143}" srcOrd="0" destOrd="0" presId="urn:microsoft.com/office/officeart/2005/8/layout/hProcess3"/>
    <dgm:cxn modelId="{25A0FEC1-A4EA-4176-90EF-87EB8DBED363}" type="presParOf" srcId="{0433D06A-59B2-4EA4-8573-7D453021700A}" destId="{3D10985E-B11A-4EE5-8187-6D01E1C74D4C}" srcOrd="1" destOrd="0" presId="urn:microsoft.com/office/officeart/2005/8/layout/hProcess3"/>
    <dgm:cxn modelId="{5B806008-5F32-4634-B231-08D628BEB45D}" type="presParOf" srcId="{0433D06A-59B2-4EA4-8573-7D453021700A}" destId="{D599F400-4FC4-4756-9061-D3FFD0522A04}" srcOrd="2" destOrd="0" presId="urn:microsoft.com/office/officeart/2005/8/layout/hProcess3"/>
    <dgm:cxn modelId="{455ACD11-6346-4C8A-B7A3-36B2157C1C74}" type="presParOf" srcId="{0433D06A-59B2-4EA4-8573-7D453021700A}" destId="{03176F2D-0DA4-4CD4-8963-797845F84B02}" srcOrd="3" destOrd="0" presId="urn:microsoft.com/office/officeart/2005/8/layout/hProcess3"/>
    <dgm:cxn modelId="{30DD4FC8-E5A9-4C77-A9F2-60AF4BC1E477}" type="presParOf" srcId="{0433D06A-59B2-4EA4-8573-7D453021700A}" destId="{F83B620D-5DA2-423E-8326-730BA921307F}" srcOrd="4" destOrd="0" presId="urn:microsoft.com/office/officeart/2005/8/layout/hProcess3"/>
    <dgm:cxn modelId="{FE704F2C-BCA8-4C3F-961C-B4EF9D77E2F2}" type="presParOf" srcId="{9B48AD60-E8EC-4104-BFA3-414D33E0A901}" destId="{4822ED65-B1DD-40E1-9A4E-6FC253CD604C}" srcOrd="2" destOrd="0" presId="urn:microsoft.com/office/officeart/2005/8/layout/hProcess3"/>
    <dgm:cxn modelId="{E94931D7-2C45-4188-B841-3E6998773955}" type="presParOf" srcId="{9B48AD60-E8EC-4104-BFA3-414D33E0A901}" destId="{DBECDE6D-7497-4726-94E2-62A86CEF4E00}" srcOrd="3" destOrd="0" presId="urn:microsoft.com/office/officeart/2005/8/layout/hProcess3"/>
    <dgm:cxn modelId="{AEFD93E0-53E2-418C-B184-14F4814698CB}" type="presParOf" srcId="{DBECDE6D-7497-4726-94E2-62A86CEF4E00}" destId="{C362617E-2B1F-483A-B45E-01AB82478848}" srcOrd="0" destOrd="0" presId="urn:microsoft.com/office/officeart/2005/8/layout/hProcess3"/>
    <dgm:cxn modelId="{E7365F31-3A6F-472F-88F9-CB3A06E55CEC}" type="presParOf" srcId="{DBECDE6D-7497-4726-94E2-62A86CEF4E00}" destId="{9ED00568-FC72-471B-87BB-427CB2003FFC}" srcOrd="1" destOrd="0" presId="urn:microsoft.com/office/officeart/2005/8/layout/hProcess3"/>
    <dgm:cxn modelId="{3E9A7E9A-3E88-447C-A7F6-34764BEF0A0E}" type="presParOf" srcId="{DBECDE6D-7497-4726-94E2-62A86CEF4E00}" destId="{AC2935A5-EAC9-4E36-AD33-753424EDCDE0}" srcOrd="2" destOrd="0" presId="urn:microsoft.com/office/officeart/2005/8/layout/hProcess3"/>
    <dgm:cxn modelId="{ED2A7E8A-B27E-4785-A10D-5E9BC818322D}" type="presParOf" srcId="{DBECDE6D-7497-4726-94E2-62A86CEF4E00}" destId="{35A519E8-C4F0-4084-B91C-D6DEE92CA2D8}" srcOrd="3" destOrd="0" presId="urn:microsoft.com/office/officeart/2005/8/layout/hProcess3"/>
    <dgm:cxn modelId="{9EF14DF8-E503-4A70-A553-1320F5B601BC}" type="presParOf" srcId="{DBECDE6D-7497-4726-94E2-62A86CEF4E00}" destId="{FC87C4B1-08BF-4E6A-A4AB-1989D1461A4F}" srcOrd="4" destOrd="0" presId="urn:microsoft.com/office/officeart/2005/8/layout/hProcess3"/>
    <dgm:cxn modelId="{C8E2BD46-003B-4FBA-9429-EF7AF8F50EE5}" type="presParOf" srcId="{9B48AD60-E8EC-4104-BFA3-414D33E0A901}" destId="{3849925E-95ED-46AE-896F-451A2598B077}" srcOrd="4" destOrd="0" presId="urn:microsoft.com/office/officeart/2005/8/layout/hProcess3"/>
    <dgm:cxn modelId="{559987E3-F1F1-4151-A13C-B8B2169B62B2}" type="presParOf" srcId="{9B48AD60-E8EC-4104-BFA3-414D33E0A901}" destId="{F5108563-8683-4633-BC15-8013586177EF}" srcOrd="5" destOrd="0" presId="urn:microsoft.com/office/officeart/2005/8/layout/hProcess3"/>
    <dgm:cxn modelId="{462AFD7A-2124-4971-A84A-F5FCDB064C20}" type="presParOf" srcId="{F5108563-8683-4633-BC15-8013586177EF}" destId="{FC676C96-05C5-4D9D-899A-2C0912CCFC5F}" srcOrd="0" destOrd="0" presId="urn:microsoft.com/office/officeart/2005/8/layout/hProcess3"/>
    <dgm:cxn modelId="{D9AB8645-ADBC-44B6-A8C1-A60EBAFC21FF}" type="presParOf" srcId="{F5108563-8683-4633-BC15-8013586177EF}" destId="{5BF2A4BE-E42B-4DED-96AD-06A79ED1B3D4}" srcOrd="1" destOrd="0" presId="urn:microsoft.com/office/officeart/2005/8/layout/hProcess3"/>
    <dgm:cxn modelId="{39405B2C-8AE4-4B8B-931A-F04B36615870}" type="presParOf" srcId="{F5108563-8683-4633-BC15-8013586177EF}" destId="{EE325746-00BF-4A06-B3A5-0136345F22EB}" srcOrd="2" destOrd="0" presId="urn:microsoft.com/office/officeart/2005/8/layout/hProcess3"/>
    <dgm:cxn modelId="{F6AE9237-5937-44FD-BC01-477BD8FD1286}" type="presParOf" srcId="{F5108563-8683-4633-BC15-8013586177EF}" destId="{E9460B6E-8AAE-47DE-89AF-6671FDBECBAE}" srcOrd="3" destOrd="0" presId="urn:microsoft.com/office/officeart/2005/8/layout/hProcess3"/>
    <dgm:cxn modelId="{E4B66F68-E681-4977-8E40-D62296024A7A}" type="presParOf" srcId="{F5108563-8683-4633-BC15-8013586177EF}" destId="{D76CA733-290C-41E5-B1D0-37ACF26F8CBD}" srcOrd="4" destOrd="0" presId="urn:microsoft.com/office/officeart/2005/8/layout/hProcess3"/>
    <dgm:cxn modelId="{DAA29C20-0EB8-4AF4-B7A5-3B2E07A54BC8}" type="presParOf" srcId="{9B48AD60-E8EC-4104-BFA3-414D33E0A901}" destId="{DADA3D66-A380-4E26-A301-343CFF8FE346}" srcOrd="6" destOrd="0" presId="urn:microsoft.com/office/officeart/2005/8/layout/hProcess3"/>
    <dgm:cxn modelId="{F0D2AA7B-5EB7-4612-B61F-BCD08E3A1F27}" type="presParOf" srcId="{9B48AD60-E8EC-4104-BFA3-414D33E0A901}" destId="{AB287C05-F4A7-4F00-89CF-4EAB06E71BF4}" srcOrd="7" destOrd="0" presId="urn:microsoft.com/office/officeart/2005/8/layout/hProcess3"/>
    <dgm:cxn modelId="{8FDF22CA-7CB9-4615-A02C-414CC9481DD1}" type="presParOf" srcId="{AB287C05-F4A7-4F00-89CF-4EAB06E71BF4}" destId="{8FF07C0F-332B-4138-9FD4-BBD56DF9F8FD}" srcOrd="0" destOrd="0" presId="urn:microsoft.com/office/officeart/2005/8/layout/hProcess3"/>
    <dgm:cxn modelId="{2CB709B0-0CE1-4008-BE31-918B45AC58BA}" type="presParOf" srcId="{AB287C05-F4A7-4F00-89CF-4EAB06E71BF4}" destId="{520AB21A-174B-44F6-BC64-14E440A73500}" srcOrd="1" destOrd="0" presId="urn:microsoft.com/office/officeart/2005/8/layout/hProcess3"/>
    <dgm:cxn modelId="{7CE76EB3-B467-4061-94F8-B54A15B5A8B7}" type="presParOf" srcId="{AB287C05-F4A7-4F00-89CF-4EAB06E71BF4}" destId="{DD975F5D-1783-4923-933D-3F559DA654C4}" srcOrd="2" destOrd="0" presId="urn:microsoft.com/office/officeart/2005/8/layout/hProcess3"/>
    <dgm:cxn modelId="{73A46D60-184D-4377-9A65-71E1349D38A8}" type="presParOf" srcId="{AB287C05-F4A7-4F00-89CF-4EAB06E71BF4}" destId="{8CED5D41-6C87-48C8-B669-65110EA15D73}" srcOrd="3" destOrd="0" presId="urn:microsoft.com/office/officeart/2005/8/layout/hProcess3"/>
    <dgm:cxn modelId="{AAC40FBD-F5E0-40C1-B952-10794F1230D9}" type="presParOf" srcId="{AB287C05-F4A7-4F00-89CF-4EAB06E71BF4}" destId="{673DD6A4-D23A-405E-B62C-D5B37E7B98B5}" srcOrd="4" destOrd="0" presId="urn:microsoft.com/office/officeart/2005/8/layout/hProcess3"/>
    <dgm:cxn modelId="{3138C05A-7F41-4E50-8C71-9400CC01BA65}" type="presParOf" srcId="{9B48AD60-E8EC-4104-BFA3-414D33E0A901}" destId="{DC8F0206-54F3-4FDA-AC7A-B750B9D53F43}" srcOrd="8" destOrd="0" presId="urn:microsoft.com/office/officeart/2005/8/layout/hProcess3"/>
    <dgm:cxn modelId="{B49B6599-ADF6-47D5-9F15-145A6F9D398E}" type="presParOf" srcId="{9B48AD60-E8EC-4104-BFA3-414D33E0A901}" destId="{71D90F5A-491A-464A-A870-ECA66A99B40A}" srcOrd="9" destOrd="0" presId="urn:microsoft.com/office/officeart/2005/8/layout/hProcess3"/>
    <dgm:cxn modelId="{83515FCA-71F8-4796-913A-607B59786BB4}" type="presParOf" srcId="{71D90F5A-491A-464A-A870-ECA66A99B40A}" destId="{86844411-8E71-445F-8867-B8E7F8868F81}" srcOrd="0" destOrd="0" presId="urn:microsoft.com/office/officeart/2005/8/layout/hProcess3"/>
    <dgm:cxn modelId="{C196CD0F-78DF-4983-8A7B-E7629EC06F4B}" type="presParOf" srcId="{71D90F5A-491A-464A-A870-ECA66A99B40A}" destId="{0F049180-FF79-438D-A53F-624768FCB06F}" srcOrd="1" destOrd="0" presId="urn:microsoft.com/office/officeart/2005/8/layout/hProcess3"/>
    <dgm:cxn modelId="{49599D94-D748-4551-9A16-7F71081E7085}" type="presParOf" srcId="{71D90F5A-491A-464A-A870-ECA66A99B40A}" destId="{21EDF102-A820-4417-8B4C-477CDA69EAA4}" srcOrd="2" destOrd="0" presId="urn:microsoft.com/office/officeart/2005/8/layout/hProcess3"/>
    <dgm:cxn modelId="{BA4A8DD6-14E6-48C7-B504-A70F201D321D}" type="presParOf" srcId="{71D90F5A-491A-464A-A870-ECA66A99B40A}" destId="{25F219DB-F5E4-44E6-9814-C2CBA6AD51E7}" srcOrd="3" destOrd="0" presId="urn:microsoft.com/office/officeart/2005/8/layout/hProcess3"/>
    <dgm:cxn modelId="{0E67DCE5-3E41-471D-8854-A7E1A1229491}" type="presParOf" srcId="{71D90F5A-491A-464A-A870-ECA66A99B40A}" destId="{F7DC2DAE-5E18-4938-909C-9247D8ABDCE4}" srcOrd="4" destOrd="0" presId="urn:microsoft.com/office/officeart/2005/8/layout/hProcess3"/>
    <dgm:cxn modelId="{892625B0-F52D-4EBC-AE93-5638679F3DF1}" type="presParOf" srcId="{9B48AD60-E8EC-4104-BFA3-414D33E0A901}" destId="{1DBEF634-23FA-4F16-AA4F-B8FAE9F6CE02}" srcOrd="10" destOrd="0" presId="urn:microsoft.com/office/officeart/2005/8/layout/hProcess3"/>
    <dgm:cxn modelId="{5D0BE785-CB32-4E38-889A-AFF2DE2A79D0}" type="presParOf" srcId="{9B48AD60-E8EC-4104-BFA3-414D33E0A901}" destId="{14AE1753-E434-48D5-85B9-A6386ABB8D5D}" srcOrd="11" destOrd="0" presId="urn:microsoft.com/office/officeart/2005/8/layout/hProcess3"/>
    <dgm:cxn modelId="{8A6EBDE3-333D-4624-A4F4-C6795C5FA888}" type="presParOf" srcId="{14AE1753-E434-48D5-85B9-A6386ABB8D5D}" destId="{9FFC9D85-08F8-4F38-AB47-6CD39C249782}" srcOrd="0" destOrd="0" presId="urn:microsoft.com/office/officeart/2005/8/layout/hProcess3"/>
    <dgm:cxn modelId="{F2FDFACF-03B4-45F7-A90E-B0BC9F1CE5A1}" type="presParOf" srcId="{14AE1753-E434-48D5-85B9-A6386ABB8D5D}" destId="{03930201-4BE1-4DC8-92CA-9F029F02C80E}" srcOrd="1" destOrd="0" presId="urn:microsoft.com/office/officeart/2005/8/layout/hProcess3"/>
    <dgm:cxn modelId="{221DBFF4-BBB8-4A04-868F-F7EF16EFB46A}" type="presParOf" srcId="{14AE1753-E434-48D5-85B9-A6386ABB8D5D}" destId="{558F8B96-8CFD-42C4-8D5B-D6E152EEF889}" srcOrd="2" destOrd="0" presId="urn:microsoft.com/office/officeart/2005/8/layout/hProcess3"/>
    <dgm:cxn modelId="{20AA4CA3-EAFE-4B89-96AF-27BD97BE06C1}" type="presParOf" srcId="{14AE1753-E434-48D5-85B9-A6386ABB8D5D}" destId="{D338FF35-2EF3-4FF7-ACD8-8B22C0A6899D}" srcOrd="3" destOrd="0" presId="urn:microsoft.com/office/officeart/2005/8/layout/hProcess3"/>
    <dgm:cxn modelId="{3EA0FBB4-9408-4F56-BA9B-3DEB8B4243FB}" type="presParOf" srcId="{14AE1753-E434-48D5-85B9-A6386ABB8D5D}" destId="{7563BDBD-A37F-43C6-B6A8-7BB3AC31007F}" srcOrd="4" destOrd="0" presId="urn:microsoft.com/office/officeart/2005/8/layout/hProcess3"/>
    <dgm:cxn modelId="{3CF176D3-05B6-4D33-AE9F-8F4971BCA2A7}" type="presParOf" srcId="{9B48AD60-E8EC-4104-BFA3-414D33E0A901}" destId="{BE4E5B31-D574-49DE-91D1-3DC5B7B07827}" srcOrd="12" destOrd="0" presId="urn:microsoft.com/office/officeart/2005/8/layout/hProcess3"/>
    <dgm:cxn modelId="{2F73224E-7A5C-4565-8573-4A18F4103FA3}" type="presParOf" srcId="{9B48AD60-E8EC-4104-BFA3-414D33E0A901}" destId="{6CE5646D-78D8-4F2F-9F1E-A98B3BE351CF}" srcOrd="13" destOrd="0" presId="urn:microsoft.com/office/officeart/2005/8/layout/hProcess3"/>
    <dgm:cxn modelId="{1E699F41-3CD1-401D-A6B5-310C4DC56C34}" type="presParOf" srcId="{6CE5646D-78D8-4F2F-9F1E-A98B3BE351CF}" destId="{9598DA89-17CD-4B26-BE81-54F5DB5812B9}" srcOrd="0" destOrd="0" presId="urn:microsoft.com/office/officeart/2005/8/layout/hProcess3"/>
    <dgm:cxn modelId="{68EA52B9-6167-4952-B6CA-2B1F4FE07D00}" type="presParOf" srcId="{6CE5646D-78D8-4F2F-9F1E-A98B3BE351CF}" destId="{15D92A9C-0487-4569-8695-AA215B66DB51}" srcOrd="1" destOrd="0" presId="urn:microsoft.com/office/officeart/2005/8/layout/hProcess3"/>
    <dgm:cxn modelId="{BB104D14-9981-4AE3-B3AC-D79EA3ABB72E}" type="presParOf" srcId="{6CE5646D-78D8-4F2F-9F1E-A98B3BE351CF}" destId="{C9F13120-E7B6-4609-8F9F-75C449BF4377}" srcOrd="2" destOrd="0" presId="urn:microsoft.com/office/officeart/2005/8/layout/hProcess3"/>
    <dgm:cxn modelId="{139431FC-FFEF-4C71-B972-2A3C38F81221}" type="presParOf" srcId="{6CE5646D-78D8-4F2F-9F1E-A98B3BE351CF}" destId="{456429D4-7C33-40B3-B776-7146AB8FE85C}" srcOrd="3" destOrd="0" presId="urn:microsoft.com/office/officeart/2005/8/layout/hProcess3"/>
    <dgm:cxn modelId="{8D76E568-6C4F-435A-B387-48CA33CE66D7}" type="presParOf" srcId="{6CE5646D-78D8-4F2F-9F1E-A98B3BE351CF}" destId="{9B93BF46-6C00-4B19-81AD-B23A886C5DA1}" srcOrd="4" destOrd="0" presId="urn:microsoft.com/office/officeart/2005/8/layout/hProcess3"/>
    <dgm:cxn modelId="{BF19EE2D-0E9E-4A00-9785-AA0D7B88B7C9}" type="presParOf" srcId="{9B48AD60-E8EC-4104-BFA3-414D33E0A901}" destId="{FA560EE6-15D2-4F52-A3D3-E3CD61A966E5}" srcOrd="14" destOrd="0" presId="urn:microsoft.com/office/officeart/2005/8/layout/hProcess3"/>
    <dgm:cxn modelId="{EA16F781-3DBA-40B5-8614-F1D4B4B35755}" type="presParOf" srcId="{9B48AD60-E8EC-4104-BFA3-414D33E0A901}" destId="{874DB9AA-0E38-4E72-9D1D-1881D7B1AD68}" srcOrd="15" destOrd="0" presId="urn:microsoft.com/office/officeart/2005/8/layout/hProcess3"/>
    <dgm:cxn modelId="{A6870EFD-EDA0-4DE5-B92D-2C8A1E552043}" type="presParOf" srcId="{9B48AD60-E8EC-4104-BFA3-414D33E0A901}" destId="{9AA037E8-5D27-45A6-9460-3C5E0E512B70}" srcOrd="16" destOrd="0" presId="urn:microsoft.com/office/officeart/2005/8/layout/h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E4326DF-C1AF-4F17-8C92-6AFDA3A5444C}" type="doc">
      <dgm:prSet loTypeId="urn:microsoft.com/office/officeart/2005/8/layout/venn2" loCatId="relationship" qsTypeId="urn:microsoft.com/office/officeart/2005/8/quickstyle/simple2" qsCatId="simple" csTypeId="urn:microsoft.com/office/officeart/2005/8/colors/accent2_4" csCatId="accent2" phldr="1"/>
      <dgm:spPr/>
      <dgm:t>
        <a:bodyPr/>
        <a:lstStyle/>
        <a:p>
          <a:endParaRPr lang="en-US"/>
        </a:p>
      </dgm:t>
    </dgm:pt>
    <dgm:pt modelId="{B56D1D02-6B39-4543-B6A2-70598EE77B76}">
      <dgm:prSet custT="1"/>
      <dgm:spPr/>
      <dgm:t>
        <a:bodyPr/>
        <a:lstStyle/>
        <a:p>
          <a:r>
            <a:rPr lang="en-US" sz="1200" dirty="0"/>
            <a:t>Creator Economy</a:t>
          </a:r>
        </a:p>
      </dgm:t>
    </dgm:pt>
    <dgm:pt modelId="{D8127C6D-17E6-4819-97AD-E3E2A08B0125}" type="parTrans" cxnId="{1B039185-4847-48E7-8595-26AD9EA4965C}">
      <dgm:prSet/>
      <dgm:spPr/>
      <dgm:t>
        <a:bodyPr/>
        <a:lstStyle/>
        <a:p>
          <a:endParaRPr lang="en-US"/>
        </a:p>
      </dgm:t>
    </dgm:pt>
    <dgm:pt modelId="{E0F4F255-218B-4ED2-BFFD-B4A29F1990E6}" type="sibTrans" cxnId="{1B039185-4847-48E7-8595-26AD9EA4965C}">
      <dgm:prSet/>
      <dgm:spPr/>
      <dgm:t>
        <a:bodyPr/>
        <a:lstStyle/>
        <a:p>
          <a:endParaRPr lang="en-US"/>
        </a:p>
      </dgm:t>
    </dgm:pt>
    <dgm:pt modelId="{25745359-4A92-4140-A59A-6E11CBECDAAE}">
      <dgm:prSet phldrT="[Text]" custT="1"/>
      <dgm:spPr/>
      <dgm:t>
        <a:bodyPr/>
        <a:lstStyle/>
        <a:p>
          <a:r>
            <a:rPr lang="en-US" sz="1200" dirty="0"/>
            <a:t>Human Interface</a:t>
          </a:r>
        </a:p>
      </dgm:t>
    </dgm:pt>
    <dgm:pt modelId="{45881470-4CBD-4459-926E-610792693B8E}" type="parTrans" cxnId="{E8D5D2B2-C48E-4F1B-A2BA-16DAB9299336}">
      <dgm:prSet/>
      <dgm:spPr/>
      <dgm:t>
        <a:bodyPr/>
        <a:lstStyle/>
        <a:p>
          <a:endParaRPr lang="en-US"/>
        </a:p>
      </dgm:t>
    </dgm:pt>
    <dgm:pt modelId="{FFE81CF0-4C9C-46E5-89FB-A88DAC621721}" type="sibTrans" cxnId="{E8D5D2B2-C48E-4F1B-A2BA-16DAB9299336}">
      <dgm:prSet/>
      <dgm:spPr/>
      <dgm:t>
        <a:bodyPr/>
        <a:lstStyle/>
        <a:p>
          <a:endParaRPr lang="en-US"/>
        </a:p>
      </dgm:t>
    </dgm:pt>
    <dgm:pt modelId="{D21E12C0-B68C-4D4F-B479-4781A63CEB34}">
      <dgm:prSet phldrT="[Text]" custT="1"/>
      <dgm:spPr/>
      <dgm:t>
        <a:bodyPr/>
        <a:lstStyle/>
        <a:p>
          <a:r>
            <a:rPr lang="en-US" sz="1200" dirty="0"/>
            <a:t>Infrastructure</a:t>
          </a:r>
        </a:p>
      </dgm:t>
    </dgm:pt>
    <dgm:pt modelId="{27B89E8F-4FDD-46EC-B27B-B18CE5D7FC10}" type="parTrans" cxnId="{DF65F81E-2C8C-4ED5-9941-A1C3B6E9C489}">
      <dgm:prSet/>
      <dgm:spPr/>
      <dgm:t>
        <a:bodyPr/>
        <a:lstStyle/>
        <a:p>
          <a:endParaRPr lang="en-US"/>
        </a:p>
      </dgm:t>
    </dgm:pt>
    <dgm:pt modelId="{FF285EC0-B1B7-497B-AB76-2FC244CB92A7}" type="sibTrans" cxnId="{DF65F81E-2C8C-4ED5-9941-A1C3B6E9C489}">
      <dgm:prSet/>
      <dgm:spPr/>
      <dgm:t>
        <a:bodyPr/>
        <a:lstStyle/>
        <a:p>
          <a:endParaRPr lang="en-US"/>
        </a:p>
      </dgm:t>
    </dgm:pt>
    <dgm:pt modelId="{CD289EDC-3D1B-4096-A99D-F0D6481FBD79}">
      <dgm:prSet phldrT="[Text]" custT="1"/>
      <dgm:spPr/>
      <dgm:t>
        <a:bodyPr/>
        <a:lstStyle/>
        <a:p>
          <a:r>
            <a:rPr lang="en-US" sz="1200" dirty="0"/>
            <a:t>Decentralization</a:t>
          </a:r>
        </a:p>
      </dgm:t>
    </dgm:pt>
    <dgm:pt modelId="{E278187D-8582-4CCC-A71F-C5469DC7A810}" type="parTrans" cxnId="{ED00020A-6AA0-4C68-B6A0-89CBE22C70E2}">
      <dgm:prSet/>
      <dgm:spPr/>
      <dgm:t>
        <a:bodyPr/>
        <a:lstStyle/>
        <a:p>
          <a:endParaRPr lang="en-US"/>
        </a:p>
      </dgm:t>
    </dgm:pt>
    <dgm:pt modelId="{03414E20-1A1C-46A6-9AAF-3C4B2D29448B}" type="sibTrans" cxnId="{ED00020A-6AA0-4C68-B6A0-89CBE22C70E2}">
      <dgm:prSet/>
      <dgm:spPr/>
      <dgm:t>
        <a:bodyPr/>
        <a:lstStyle/>
        <a:p>
          <a:endParaRPr lang="en-US"/>
        </a:p>
      </dgm:t>
    </dgm:pt>
    <dgm:pt modelId="{B3145789-9DB9-4414-984B-81D776F85E1B}">
      <dgm:prSet phldrT="[Text]" custT="1"/>
      <dgm:spPr/>
      <dgm:t>
        <a:bodyPr/>
        <a:lstStyle/>
        <a:p>
          <a:r>
            <a:rPr lang="en-US" sz="1200" dirty="0"/>
            <a:t>Spatial Computing</a:t>
          </a:r>
        </a:p>
      </dgm:t>
    </dgm:pt>
    <dgm:pt modelId="{4FE965EE-F339-4749-89AC-FE873AAD6D44}" type="parTrans" cxnId="{0768309C-E338-4EE8-BE1B-E052E2FAE300}">
      <dgm:prSet/>
      <dgm:spPr/>
      <dgm:t>
        <a:bodyPr/>
        <a:lstStyle/>
        <a:p>
          <a:endParaRPr lang="en-US"/>
        </a:p>
      </dgm:t>
    </dgm:pt>
    <dgm:pt modelId="{64D8D0A9-48F5-40DB-9922-89201F27C0EE}" type="sibTrans" cxnId="{0768309C-E338-4EE8-BE1B-E052E2FAE300}">
      <dgm:prSet/>
      <dgm:spPr/>
      <dgm:t>
        <a:bodyPr/>
        <a:lstStyle/>
        <a:p>
          <a:endParaRPr lang="en-US"/>
        </a:p>
      </dgm:t>
    </dgm:pt>
    <dgm:pt modelId="{CF611C9E-CD9F-49DA-A03F-4F66D4229564}">
      <dgm:prSet custT="1"/>
      <dgm:spPr/>
      <dgm:t>
        <a:bodyPr/>
        <a:lstStyle/>
        <a:p>
          <a:r>
            <a:rPr lang="en-US" sz="1200" dirty="0"/>
            <a:t>Discovery</a:t>
          </a:r>
        </a:p>
      </dgm:t>
    </dgm:pt>
    <dgm:pt modelId="{C59F8BD3-2C81-402A-AAE2-B466061124CF}" type="parTrans" cxnId="{7CF14E20-6AB5-4252-AED0-075CEE609901}">
      <dgm:prSet/>
      <dgm:spPr/>
      <dgm:t>
        <a:bodyPr/>
        <a:lstStyle/>
        <a:p>
          <a:endParaRPr lang="en-US"/>
        </a:p>
      </dgm:t>
    </dgm:pt>
    <dgm:pt modelId="{80B2DC4F-5C31-424B-ACCA-6261AEA250CF}" type="sibTrans" cxnId="{7CF14E20-6AB5-4252-AED0-075CEE609901}">
      <dgm:prSet/>
      <dgm:spPr/>
      <dgm:t>
        <a:bodyPr/>
        <a:lstStyle/>
        <a:p>
          <a:endParaRPr lang="en-US"/>
        </a:p>
      </dgm:t>
    </dgm:pt>
    <dgm:pt modelId="{052F130C-5182-4CB2-836D-A4C8CFD8A9B9}">
      <dgm:prSet custT="1"/>
      <dgm:spPr/>
      <dgm:t>
        <a:bodyPr/>
        <a:lstStyle/>
        <a:p>
          <a:r>
            <a:rPr lang="en-US" sz="1200" dirty="0"/>
            <a:t>Experience</a:t>
          </a:r>
        </a:p>
      </dgm:t>
    </dgm:pt>
    <dgm:pt modelId="{0B83946A-2A09-448A-A3A1-A3AEA7BDEB8B}" type="parTrans" cxnId="{070D417A-B579-4B69-BFE2-52F8EF581A2F}">
      <dgm:prSet/>
      <dgm:spPr/>
      <dgm:t>
        <a:bodyPr/>
        <a:lstStyle/>
        <a:p>
          <a:endParaRPr lang="en-US"/>
        </a:p>
      </dgm:t>
    </dgm:pt>
    <dgm:pt modelId="{7B819AD2-3203-414C-9FEE-B519B83F97F1}" type="sibTrans" cxnId="{070D417A-B579-4B69-BFE2-52F8EF581A2F}">
      <dgm:prSet/>
      <dgm:spPr/>
      <dgm:t>
        <a:bodyPr/>
        <a:lstStyle/>
        <a:p>
          <a:endParaRPr lang="en-US"/>
        </a:p>
      </dgm:t>
    </dgm:pt>
    <dgm:pt modelId="{7681BF97-B620-498F-B045-48A8D3658DED}" type="pres">
      <dgm:prSet presAssocID="{1E4326DF-C1AF-4F17-8C92-6AFDA3A5444C}" presName="Name0" presStyleCnt="0">
        <dgm:presLayoutVars>
          <dgm:chMax val="7"/>
          <dgm:resizeHandles val="exact"/>
        </dgm:presLayoutVars>
      </dgm:prSet>
      <dgm:spPr/>
    </dgm:pt>
    <dgm:pt modelId="{3F394A86-6E2A-4455-AB98-DA68FBACE49D}" type="pres">
      <dgm:prSet presAssocID="{1E4326DF-C1AF-4F17-8C92-6AFDA3A5444C}" presName="comp1" presStyleCnt="0"/>
      <dgm:spPr/>
    </dgm:pt>
    <dgm:pt modelId="{A210F109-76B7-4494-93E8-0ADC4D6A3BAB}" type="pres">
      <dgm:prSet presAssocID="{1E4326DF-C1AF-4F17-8C92-6AFDA3A5444C}" presName="circle1" presStyleLbl="node1" presStyleIdx="0" presStyleCnt="7"/>
      <dgm:spPr/>
    </dgm:pt>
    <dgm:pt modelId="{5EE5108B-D9AE-4B5D-867F-4D05D0BD4263}" type="pres">
      <dgm:prSet presAssocID="{1E4326DF-C1AF-4F17-8C92-6AFDA3A5444C}" presName="c1text" presStyleLbl="node1" presStyleIdx="0" presStyleCnt="7">
        <dgm:presLayoutVars>
          <dgm:bulletEnabled val="1"/>
        </dgm:presLayoutVars>
      </dgm:prSet>
      <dgm:spPr/>
    </dgm:pt>
    <dgm:pt modelId="{3C521461-9ABC-431B-96D9-C2842545EEFB}" type="pres">
      <dgm:prSet presAssocID="{1E4326DF-C1AF-4F17-8C92-6AFDA3A5444C}" presName="comp2" presStyleCnt="0"/>
      <dgm:spPr/>
    </dgm:pt>
    <dgm:pt modelId="{77823C15-35A1-4209-A57C-E7E1A72B8D69}" type="pres">
      <dgm:prSet presAssocID="{1E4326DF-C1AF-4F17-8C92-6AFDA3A5444C}" presName="circle2" presStyleLbl="node1" presStyleIdx="1" presStyleCnt="7"/>
      <dgm:spPr/>
    </dgm:pt>
    <dgm:pt modelId="{64BBA999-E2B9-418D-9A18-538E034C1498}" type="pres">
      <dgm:prSet presAssocID="{1E4326DF-C1AF-4F17-8C92-6AFDA3A5444C}" presName="c2text" presStyleLbl="node1" presStyleIdx="1" presStyleCnt="7">
        <dgm:presLayoutVars>
          <dgm:bulletEnabled val="1"/>
        </dgm:presLayoutVars>
      </dgm:prSet>
      <dgm:spPr/>
    </dgm:pt>
    <dgm:pt modelId="{BF4D29B0-0900-4385-A9D8-7522759FE0C3}" type="pres">
      <dgm:prSet presAssocID="{1E4326DF-C1AF-4F17-8C92-6AFDA3A5444C}" presName="comp3" presStyleCnt="0"/>
      <dgm:spPr/>
    </dgm:pt>
    <dgm:pt modelId="{C7896306-B396-4C33-9EA2-E46098CF1686}" type="pres">
      <dgm:prSet presAssocID="{1E4326DF-C1AF-4F17-8C92-6AFDA3A5444C}" presName="circle3" presStyleLbl="node1" presStyleIdx="2" presStyleCnt="7"/>
      <dgm:spPr/>
    </dgm:pt>
    <dgm:pt modelId="{4D7DC81C-2811-46D8-9DA5-E381E0B842AA}" type="pres">
      <dgm:prSet presAssocID="{1E4326DF-C1AF-4F17-8C92-6AFDA3A5444C}" presName="c3text" presStyleLbl="node1" presStyleIdx="2" presStyleCnt="7">
        <dgm:presLayoutVars>
          <dgm:bulletEnabled val="1"/>
        </dgm:presLayoutVars>
      </dgm:prSet>
      <dgm:spPr/>
    </dgm:pt>
    <dgm:pt modelId="{7C1FEB39-3FE7-4589-B111-DF61A866CD94}" type="pres">
      <dgm:prSet presAssocID="{1E4326DF-C1AF-4F17-8C92-6AFDA3A5444C}" presName="comp4" presStyleCnt="0"/>
      <dgm:spPr/>
    </dgm:pt>
    <dgm:pt modelId="{3D0D136B-832A-4A15-8F15-4896CB431E75}" type="pres">
      <dgm:prSet presAssocID="{1E4326DF-C1AF-4F17-8C92-6AFDA3A5444C}" presName="circle4" presStyleLbl="node1" presStyleIdx="3" presStyleCnt="7"/>
      <dgm:spPr/>
    </dgm:pt>
    <dgm:pt modelId="{EB7C8996-52C6-4B7A-8001-DB2641734E26}" type="pres">
      <dgm:prSet presAssocID="{1E4326DF-C1AF-4F17-8C92-6AFDA3A5444C}" presName="c4text" presStyleLbl="node1" presStyleIdx="3" presStyleCnt="7">
        <dgm:presLayoutVars>
          <dgm:bulletEnabled val="1"/>
        </dgm:presLayoutVars>
      </dgm:prSet>
      <dgm:spPr/>
    </dgm:pt>
    <dgm:pt modelId="{5ED2C8F6-F1D3-49B6-93BD-9ED5CBAA3E80}" type="pres">
      <dgm:prSet presAssocID="{1E4326DF-C1AF-4F17-8C92-6AFDA3A5444C}" presName="comp5" presStyleCnt="0"/>
      <dgm:spPr/>
    </dgm:pt>
    <dgm:pt modelId="{7AAD9264-F614-4DCE-A69A-AF4BFA2884F7}" type="pres">
      <dgm:prSet presAssocID="{1E4326DF-C1AF-4F17-8C92-6AFDA3A5444C}" presName="circle5" presStyleLbl="node1" presStyleIdx="4" presStyleCnt="7"/>
      <dgm:spPr/>
    </dgm:pt>
    <dgm:pt modelId="{0514D3F8-F9FF-4475-82F1-99EB20D553CF}" type="pres">
      <dgm:prSet presAssocID="{1E4326DF-C1AF-4F17-8C92-6AFDA3A5444C}" presName="c5text" presStyleLbl="node1" presStyleIdx="4" presStyleCnt="7">
        <dgm:presLayoutVars>
          <dgm:bulletEnabled val="1"/>
        </dgm:presLayoutVars>
      </dgm:prSet>
      <dgm:spPr/>
    </dgm:pt>
    <dgm:pt modelId="{7997A071-2729-442E-9994-FFB09CCA9567}" type="pres">
      <dgm:prSet presAssocID="{1E4326DF-C1AF-4F17-8C92-6AFDA3A5444C}" presName="comp6" presStyleCnt="0"/>
      <dgm:spPr/>
    </dgm:pt>
    <dgm:pt modelId="{0A808BAD-FEA5-4898-BFFA-B8DCA6051EF2}" type="pres">
      <dgm:prSet presAssocID="{1E4326DF-C1AF-4F17-8C92-6AFDA3A5444C}" presName="circle6" presStyleLbl="node1" presStyleIdx="5" presStyleCnt="7"/>
      <dgm:spPr/>
    </dgm:pt>
    <dgm:pt modelId="{4FEB47D6-D124-4E2E-82D6-50D9A8D05305}" type="pres">
      <dgm:prSet presAssocID="{1E4326DF-C1AF-4F17-8C92-6AFDA3A5444C}" presName="c6text" presStyleLbl="node1" presStyleIdx="5" presStyleCnt="7">
        <dgm:presLayoutVars>
          <dgm:bulletEnabled val="1"/>
        </dgm:presLayoutVars>
      </dgm:prSet>
      <dgm:spPr/>
    </dgm:pt>
    <dgm:pt modelId="{A04B5973-2B86-4390-B483-6EAB97FFB38D}" type="pres">
      <dgm:prSet presAssocID="{1E4326DF-C1AF-4F17-8C92-6AFDA3A5444C}" presName="comp7" presStyleCnt="0"/>
      <dgm:spPr/>
    </dgm:pt>
    <dgm:pt modelId="{517FACCC-3613-4200-B232-0AF32C031FE8}" type="pres">
      <dgm:prSet presAssocID="{1E4326DF-C1AF-4F17-8C92-6AFDA3A5444C}" presName="circle7" presStyleLbl="node1" presStyleIdx="6" presStyleCnt="7"/>
      <dgm:spPr/>
    </dgm:pt>
    <dgm:pt modelId="{1D586419-B1A6-4107-B713-003F1BB668B9}" type="pres">
      <dgm:prSet presAssocID="{1E4326DF-C1AF-4F17-8C92-6AFDA3A5444C}" presName="c7text" presStyleLbl="node1" presStyleIdx="6" presStyleCnt="7">
        <dgm:presLayoutVars>
          <dgm:bulletEnabled val="1"/>
        </dgm:presLayoutVars>
      </dgm:prSet>
      <dgm:spPr/>
    </dgm:pt>
  </dgm:ptLst>
  <dgm:cxnLst>
    <dgm:cxn modelId="{3D586E01-C55F-4BD6-917A-9CC5935CB0E3}" type="presOf" srcId="{052F130C-5182-4CB2-836D-A4C8CFD8A9B9}" destId="{5EE5108B-D9AE-4B5D-867F-4D05D0BD4263}" srcOrd="1" destOrd="0" presId="urn:microsoft.com/office/officeart/2005/8/layout/venn2"/>
    <dgm:cxn modelId="{ED00020A-6AA0-4C68-B6A0-89CBE22C70E2}" srcId="{1E4326DF-C1AF-4F17-8C92-6AFDA3A5444C}" destId="{CD289EDC-3D1B-4096-A99D-F0D6481FBD79}" srcOrd="4" destOrd="0" parTransId="{E278187D-8582-4CCC-A71F-C5469DC7A810}" sibTransId="{03414E20-1A1C-46A6-9AAF-3C4B2D29448B}"/>
    <dgm:cxn modelId="{44283C0E-028E-4CB4-B812-97E8B2A7CF8C}" type="presOf" srcId="{B56D1D02-6B39-4543-B6A2-70598EE77B76}" destId="{C7896306-B396-4C33-9EA2-E46098CF1686}" srcOrd="0" destOrd="0" presId="urn:microsoft.com/office/officeart/2005/8/layout/venn2"/>
    <dgm:cxn modelId="{DF65F81E-2C8C-4ED5-9941-A1C3B6E9C489}" srcId="{1E4326DF-C1AF-4F17-8C92-6AFDA3A5444C}" destId="{D21E12C0-B68C-4D4F-B479-4781A63CEB34}" srcOrd="6" destOrd="0" parTransId="{27B89E8F-4FDD-46EC-B27B-B18CE5D7FC10}" sibTransId="{FF285EC0-B1B7-497B-AB76-2FC244CB92A7}"/>
    <dgm:cxn modelId="{7CF14E20-6AB5-4252-AED0-075CEE609901}" srcId="{1E4326DF-C1AF-4F17-8C92-6AFDA3A5444C}" destId="{CF611C9E-CD9F-49DA-A03F-4F66D4229564}" srcOrd="1" destOrd="0" parTransId="{C59F8BD3-2C81-402A-AAE2-B466061124CF}" sibTransId="{80B2DC4F-5C31-424B-ACCA-6261AEA250CF}"/>
    <dgm:cxn modelId="{C4F77925-9FDA-468B-A838-04A6E89F8F31}" type="presOf" srcId="{D21E12C0-B68C-4D4F-B479-4781A63CEB34}" destId="{517FACCC-3613-4200-B232-0AF32C031FE8}" srcOrd="0" destOrd="0" presId="urn:microsoft.com/office/officeart/2005/8/layout/venn2"/>
    <dgm:cxn modelId="{9680462D-0050-443B-B1FC-73CE904F88E7}" type="presOf" srcId="{1E4326DF-C1AF-4F17-8C92-6AFDA3A5444C}" destId="{7681BF97-B620-498F-B045-48A8D3658DED}" srcOrd="0" destOrd="0" presId="urn:microsoft.com/office/officeart/2005/8/layout/venn2"/>
    <dgm:cxn modelId="{90F1DD30-BBD4-4B70-992F-09F66EA3C70C}" type="presOf" srcId="{CD289EDC-3D1B-4096-A99D-F0D6481FBD79}" destId="{7AAD9264-F614-4DCE-A69A-AF4BFA2884F7}" srcOrd="0" destOrd="0" presId="urn:microsoft.com/office/officeart/2005/8/layout/venn2"/>
    <dgm:cxn modelId="{53C48F3F-637E-4AB1-9343-0AEA4FD597CE}" type="presOf" srcId="{25745359-4A92-4140-A59A-6E11CBECDAAE}" destId="{0A808BAD-FEA5-4898-BFFA-B8DCA6051EF2}" srcOrd="0" destOrd="0" presId="urn:microsoft.com/office/officeart/2005/8/layout/venn2"/>
    <dgm:cxn modelId="{993E0F69-666E-42AA-98E2-3F5CA1219CDB}" type="presOf" srcId="{CF611C9E-CD9F-49DA-A03F-4F66D4229564}" destId="{77823C15-35A1-4209-A57C-E7E1A72B8D69}" srcOrd="0" destOrd="0" presId="urn:microsoft.com/office/officeart/2005/8/layout/venn2"/>
    <dgm:cxn modelId="{E8D54A4A-016D-4406-BA75-7CE9FD2880B5}" type="presOf" srcId="{CF611C9E-CD9F-49DA-A03F-4F66D4229564}" destId="{64BBA999-E2B9-418D-9A18-538E034C1498}" srcOrd="1" destOrd="0" presId="urn:microsoft.com/office/officeart/2005/8/layout/venn2"/>
    <dgm:cxn modelId="{6C3FCA74-1500-46E8-9D19-85C36969EC83}" type="presOf" srcId="{B56D1D02-6B39-4543-B6A2-70598EE77B76}" destId="{4D7DC81C-2811-46D8-9DA5-E381E0B842AA}" srcOrd="1" destOrd="0" presId="urn:microsoft.com/office/officeart/2005/8/layout/venn2"/>
    <dgm:cxn modelId="{070D417A-B579-4B69-BFE2-52F8EF581A2F}" srcId="{1E4326DF-C1AF-4F17-8C92-6AFDA3A5444C}" destId="{052F130C-5182-4CB2-836D-A4C8CFD8A9B9}" srcOrd="0" destOrd="0" parTransId="{0B83946A-2A09-448A-A3A1-A3AEA7BDEB8B}" sibTransId="{7B819AD2-3203-414C-9FEE-B519B83F97F1}"/>
    <dgm:cxn modelId="{1B039185-4847-48E7-8595-26AD9EA4965C}" srcId="{1E4326DF-C1AF-4F17-8C92-6AFDA3A5444C}" destId="{B56D1D02-6B39-4543-B6A2-70598EE77B76}" srcOrd="2" destOrd="0" parTransId="{D8127C6D-17E6-4819-97AD-E3E2A08B0125}" sibTransId="{E0F4F255-218B-4ED2-BFFD-B4A29F1990E6}"/>
    <dgm:cxn modelId="{B897D488-380E-4E4B-9FDF-D1BCAB496D41}" type="presOf" srcId="{B3145789-9DB9-4414-984B-81D776F85E1B}" destId="{EB7C8996-52C6-4B7A-8001-DB2641734E26}" srcOrd="1" destOrd="0" presId="urn:microsoft.com/office/officeart/2005/8/layout/venn2"/>
    <dgm:cxn modelId="{2AC7A190-261C-48DB-8B4B-53B491A99D9C}" type="presOf" srcId="{052F130C-5182-4CB2-836D-A4C8CFD8A9B9}" destId="{A210F109-76B7-4494-93E8-0ADC4D6A3BAB}" srcOrd="0" destOrd="0" presId="urn:microsoft.com/office/officeart/2005/8/layout/venn2"/>
    <dgm:cxn modelId="{0768309C-E338-4EE8-BE1B-E052E2FAE300}" srcId="{1E4326DF-C1AF-4F17-8C92-6AFDA3A5444C}" destId="{B3145789-9DB9-4414-984B-81D776F85E1B}" srcOrd="3" destOrd="0" parTransId="{4FE965EE-F339-4749-89AC-FE873AAD6D44}" sibTransId="{64D8D0A9-48F5-40DB-9922-89201F27C0EE}"/>
    <dgm:cxn modelId="{E8D5D2B2-C48E-4F1B-A2BA-16DAB9299336}" srcId="{1E4326DF-C1AF-4F17-8C92-6AFDA3A5444C}" destId="{25745359-4A92-4140-A59A-6E11CBECDAAE}" srcOrd="5" destOrd="0" parTransId="{45881470-4CBD-4459-926E-610792693B8E}" sibTransId="{FFE81CF0-4C9C-46E5-89FB-A88DAC621721}"/>
    <dgm:cxn modelId="{246CFFEA-8C87-4188-8E54-8076C4CC0C40}" type="presOf" srcId="{25745359-4A92-4140-A59A-6E11CBECDAAE}" destId="{4FEB47D6-D124-4E2E-82D6-50D9A8D05305}" srcOrd="1" destOrd="0" presId="urn:microsoft.com/office/officeart/2005/8/layout/venn2"/>
    <dgm:cxn modelId="{EDF092F1-FF23-4FE4-9286-C5FD8D082215}" type="presOf" srcId="{CD289EDC-3D1B-4096-A99D-F0D6481FBD79}" destId="{0514D3F8-F9FF-4475-82F1-99EB20D553CF}" srcOrd="1" destOrd="0" presId="urn:microsoft.com/office/officeart/2005/8/layout/venn2"/>
    <dgm:cxn modelId="{C27AE5F7-6D5A-4192-950B-52F421A40A64}" type="presOf" srcId="{B3145789-9DB9-4414-984B-81D776F85E1B}" destId="{3D0D136B-832A-4A15-8F15-4896CB431E75}" srcOrd="0" destOrd="0" presId="urn:microsoft.com/office/officeart/2005/8/layout/venn2"/>
    <dgm:cxn modelId="{27033CFD-EEBF-4AE2-8C5E-A7B3F337B4EC}" type="presOf" srcId="{D21E12C0-B68C-4D4F-B479-4781A63CEB34}" destId="{1D586419-B1A6-4107-B713-003F1BB668B9}" srcOrd="1" destOrd="0" presId="urn:microsoft.com/office/officeart/2005/8/layout/venn2"/>
    <dgm:cxn modelId="{66FDF996-D8E4-4DDC-8647-274CF9FBDE3E}" type="presParOf" srcId="{7681BF97-B620-498F-B045-48A8D3658DED}" destId="{3F394A86-6E2A-4455-AB98-DA68FBACE49D}" srcOrd="0" destOrd="0" presId="urn:microsoft.com/office/officeart/2005/8/layout/venn2"/>
    <dgm:cxn modelId="{B6CDA40D-F764-432B-BD4F-C3565718AFF5}" type="presParOf" srcId="{3F394A86-6E2A-4455-AB98-DA68FBACE49D}" destId="{A210F109-76B7-4494-93E8-0ADC4D6A3BAB}" srcOrd="0" destOrd="0" presId="urn:microsoft.com/office/officeart/2005/8/layout/venn2"/>
    <dgm:cxn modelId="{295BC6CE-356C-4D6D-BEC3-252D337B794C}" type="presParOf" srcId="{3F394A86-6E2A-4455-AB98-DA68FBACE49D}" destId="{5EE5108B-D9AE-4B5D-867F-4D05D0BD4263}" srcOrd="1" destOrd="0" presId="urn:microsoft.com/office/officeart/2005/8/layout/venn2"/>
    <dgm:cxn modelId="{B2C89351-D247-4207-9C80-EB5CFE36EFC8}" type="presParOf" srcId="{7681BF97-B620-498F-B045-48A8D3658DED}" destId="{3C521461-9ABC-431B-96D9-C2842545EEFB}" srcOrd="1" destOrd="0" presId="urn:microsoft.com/office/officeart/2005/8/layout/venn2"/>
    <dgm:cxn modelId="{8A51FE75-C00C-4A4B-AF56-5A5867412891}" type="presParOf" srcId="{3C521461-9ABC-431B-96D9-C2842545EEFB}" destId="{77823C15-35A1-4209-A57C-E7E1A72B8D69}" srcOrd="0" destOrd="0" presId="urn:microsoft.com/office/officeart/2005/8/layout/venn2"/>
    <dgm:cxn modelId="{35CBE803-18DE-47D8-A640-7F1E404670DA}" type="presParOf" srcId="{3C521461-9ABC-431B-96D9-C2842545EEFB}" destId="{64BBA999-E2B9-418D-9A18-538E034C1498}" srcOrd="1" destOrd="0" presId="urn:microsoft.com/office/officeart/2005/8/layout/venn2"/>
    <dgm:cxn modelId="{272A734D-8A1D-4DC9-A920-1B1E86DD7A3F}" type="presParOf" srcId="{7681BF97-B620-498F-B045-48A8D3658DED}" destId="{BF4D29B0-0900-4385-A9D8-7522759FE0C3}" srcOrd="2" destOrd="0" presId="urn:microsoft.com/office/officeart/2005/8/layout/venn2"/>
    <dgm:cxn modelId="{49251BEF-A170-4D73-92EB-70D091BA849E}" type="presParOf" srcId="{BF4D29B0-0900-4385-A9D8-7522759FE0C3}" destId="{C7896306-B396-4C33-9EA2-E46098CF1686}" srcOrd="0" destOrd="0" presId="urn:microsoft.com/office/officeart/2005/8/layout/venn2"/>
    <dgm:cxn modelId="{20C05B04-B5A7-484A-B9AB-E82CDE20750D}" type="presParOf" srcId="{BF4D29B0-0900-4385-A9D8-7522759FE0C3}" destId="{4D7DC81C-2811-46D8-9DA5-E381E0B842AA}" srcOrd="1" destOrd="0" presId="urn:microsoft.com/office/officeart/2005/8/layout/venn2"/>
    <dgm:cxn modelId="{48FF3F8C-4256-4686-98C0-8CEC1B6EA44D}" type="presParOf" srcId="{7681BF97-B620-498F-B045-48A8D3658DED}" destId="{7C1FEB39-3FE7-4589-B111-DF61A866CD94}" srcOrd="3" destOrd="0" presId="urn:microsoft.com/office/officeart/2005/8/layout/venn2"/>
    <dgm:cxn modelId="{E3851AC0-6BD4-4B6B-ABCC-F7E2CA9CF17B}" type="presParOf" srcId="{7C1FEB39-3FE7-4589-B111-DF61A866CD94}" destId="{3D0D136B-832A-4A15-8F15-4896CB431E75}" srcOrd="0" destOrd="0" presId="urn:microsoft.com/office/officeart/2005/8/layout/venn2"/>
    <dgm:cxn modelId="{15AEF073-CDA8-4793-9B21-E254C776EEF7}" type="presParOf" srcId="{7C1FEB39-3FE7-4589-B111-DF61A866CD94}" destId="{EB7C8996-52C6-4B7A-8001-DB2641734E26}" srcOrd="1" destOrd="0" presId="urn:microsoft.com/office/officeart/2005/8/layout/venn2"/>
    <dgm:cxn modelId="{3D1B6BE7-0C41-4041-BC57-B98F741D25DC}" type="presParOf" srcId="{7681BF97-B620-498F-B045-48A8D3658DED}" destId="{5ED2C8F6-F1D3-49B6-93BD-9ED5CBAA3E80}" srcOrd="4" destOrd="0" presId="urn:microsoft.com/office/officeart/2005/8/layout/venn2"/>
    <dgm:cxn modelId="{F5D6F56B-6C35-4C52-90F5-6C74B56DAED6}" type="presParOf" srcId="{5ED2C8F6-F1D3-49B6-93BD-9ED5CBAA3E80}" destId="{7AAD9264-F614-4DCE-A69A-AF4BFA2884F7}" srcOrd="0" destOrd="0" presId="urn:microsoft.com/office/officeart/2005/8/layout/venn2"/>
    <dgm:cxn modelId="{EAF7D12F-50BE-43D3-9948-788AED25E666}" type="presParOf" srcId="{5ED2C8F6-F1D3-49B6-93BD-9ED5CBAA3E80}" destId="{0514D3F8-F9FF-4475-82F1-99EB20D553CF}" srcOrd="1" destOrd="0" presId="urn:microsoft.com/office/officeart/2005/8/layout/venn2"/>
    <dgm:cxn modelId="{F623AAE8-5718-410C-A999-AAEA3F742680}" type="presParOf" srcId="{7681BF97-B620-498F-B045-48A8D3658DED}" destId="{7997A071-2729-442E-9994-FFB09CCA9567}" srcOrd="5" destOrd="0" presId="urn:microsoft.com/office/officeart/2005/8/layout/venn2"/>
    <dgm:cxn modelId="{4BB7CEFF-0641-47CF-B4EC-6FB808F6D97D}" type="presParOf" srcId="{7997A071-2729-442E-9994-FFB09CCA9567}" destId="{0A808BAD-FEA5-4898-BFFA-B8DCA6051EF2}" srcOrd="0" destOrd="0" presId="urn:microsoft.com/office/officeart/2005/8/layout/venn2"/>
    <dgm:cxn modelId="{91203CDC-9EB8-4061-BFC2-ED70ADDA64EC}" type="presParOf" srcId="{7997A071-2729-442E-9994-FFB09CCA9567}" destId="{4FEB47D6-D124-4E2E-82D6-50D9A8D05305}" srcOrd="1" destOrd="0" presId="urn:microsoft.com/office/officeart/2005/8/layout/venn2"/>
    <dgm:cxn modelId="{69850AD8-341F-4578-A4F1-002AB9C7F012}" type="presParOf" srcId="{7681BF97-B620-498F-B045-48A8D3658DED}" destId="{A04B5973-2B86-4390-B483-6EAB97FFB38D}" srcOrd="6" destOrd="0" presId="urn:microsoft.com/office/officeart/2005/8/layout/venn2"/>
    <dgm:cxn modelId="{10297305-9F75-4985-A4D3-819CCBE13920}" type="presParOf" srcId="{A04B5973-2B86-4390-B483-6EAB97FFB38D}" destId="{517FACCC-3613-4200-B232-0AF32C031FE8}" srcOrd="0" destOrd="0" presId="urn:microsoft.com/office/officeart/2005/8/layout/venn2"/>
    <dgm:cxn modelId="{48E36FE9-76AE-4EBD-B942-4EB618BC0A4E}" type="presParOf" srcId="{A04B5973-2B86-4390-B483-6EAB97FFB38D}" destId="{1D586419-B1A6-4107-B713-003F1BB668B9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A037E8-5D27-45A6-9460-3C5E0E512B70}">
      <dsp:nvSpPr>
        <dsp:cNvPr id="0" name=""/>
        <dsp:cNvSpPr/>
      </dsp:nvSpPr>
      <dsp:spPr>
        <a:xfrm>
          <a:off x="0" y="485581"/>
          <a:ext cx="10427216" cy="1296000"/>
        </a:xfrm>
        <a:prstGeom prst="rightArrow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B93BF46-6C00-4B19-81AD-B23A886C5DA1}">
      <dsp:nvSpPr>
        <dsp:cNvPr id="0" name=""/>
        <dsp:cNvSpPr/>
      </dsp:nvSpPr>
      <dsp:spPr>
        <a:xfrm>
          <a:off x="8342027" y="1522381"/>
          <a:ext cx="1042467" cy="30167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(2021) Microsoft Mesh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(2021) Meta Platform</a:t>
          </a:r>
        </a:p>
      </dsp:txBody>
      <dsp:txXfrm>
        <a:off x="8342027" y="1522381"/>
        <a:ext cx="1042467" cy="3016746"/>
      </dsp:txXfrm>
    </dsp:sp>
    <dsp:sp modelId="{15D92A9C-0487-4569-8695-AA215B66DB51}">
      <dsp:nvSpPr>
        <dsp:cNvPr id="0" name=""/>
        <dsp:cNvSpPr/>
      </dsp:nvSpPr>
      <dsp:spPr>
        <a:xfrm>
          <a:off x="8342027" y="809581"/>
          <a:ext cx="1042467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82880" rIns="0" bIns="1828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2020s</a:t>
          </a:r>
        </a:p>
      </dsp:txBody>
      <dsp:txXfrm>
        <a:off x="8342027" y="809581"/>
        <a:ext cx="1042467" cy="648000"/>
      </dsp:txXfrm>
    </dsp:sp>
    <dsp:sp modelId="{7563BDBD-A37F-43C6-B6A8-7BB3AC31007F}">
      <dsp:nvSpPr>
        <dsp:cNvPr id="0" name=""/>
        <dsp:cNvSpPr/>
      </dsp:nvSpPr>
      <dsp:spPr>
        <a:xfrm>
          <a:off x="7091066" y="1522381"/>
          <a:ext cx="1042467" cy="30167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(2010) Oculus Rift VR Prototype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(2012) NFT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(2014) Consumer level - VR headset release 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(2015) Ethereum 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(2015) </a:t>
          </a:r>
          <a:r>
            <a:rPr lang="en-US" sz="1400" kern="1200" dirty="0" err="1"/>
            <a:t>Decentraland</a:t>
          </a:r>
          <a:endParaRPr lang="en-US" sz="1400" kern="1200" dirty="0"/>
        </a:p>
      </dsp:txBody>
      <dsp:txXfrm>
        <a:off x="7091066" y="1522381"/>
        <a:ext cx="1042467" cy="3016746"/>
      </dsp:txXfrm>
    </dsp:sp>
    <dsp:sp modelId="{03930201-4BE1-4DC8-92CA-9F029F02C80E}">
      <dsp:nvSpPr>
        <dsp:cNvPr id="0" name=""/>
        <dsp:cNvSpPr/>
      </dsp:nvSpPr>
      <dsp:spPr>
        <a:xfrm>
          <a:off x="7091066" y="809581"/>
          <a:ext cx="1042467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82880" rIns="0" bIns="1828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2010s</a:t>
          </a:r>
        </a:p>
      </dsp:txBody>
      <dsp:txXfrm>
        <a:off x="7091066" y="809581"/>
        <a:ext cx="1042467" cy="648000"/>
      </dsp:txXfrm>
    </dsp:sp>
    <dsp:sp modelId="{F7DC2DAE-5E18-4938-909C-9247D8ABDCE4}">
      <dsp:nvSpPr>
        <dsp:cNvPr id="0" name=""/>
        <dsp:cNvSpPr/>
      </dsp:nvSpPr>
      <dsp:spPr>
        <a:xfrm>
          <a:off x="5840106" y="1522381"/>
          <a:ext cx="1042467" cy="30167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(2002) Digital Twin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(2003) Second Life (Online virtual world)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(2009) Bitcoin</a:t>
          </a:r>
        </a:p>
      </dsp:txBody>
      <dsp:txXfrm>
        <a:off x="5840106" y="1522381"/>
        <a:ext cx="1042467" cy="3016746"/>
      </dsp:txXfrm>
    </dsp:sp>
    <dsp:sp modelId="{0F049180-FF79-438D-A53F-624768FCB06F}">
      <dsp:nvSpPr>
        <dsp:cNvPr id="0" name=""/>
        <dsp:cNvSpPr/>
      </dsp:nvSpPr>
      <dsp:spPr>
        <a:xfrm>
          <a:off x="5840106" y="809581"/>
          <a:ext cx="1042467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82880" rIns="0" bIns="1828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2000s</a:t>
          </a:r>
        </a:p>
      </dsp:txBody>
      <dsp:txXfrm>
        <a:off x="5840106" y="809581"/>
        <a:ext cx="1042467" cy="648000"/>
      </dsp:txXfrm>
    </dsp:sp>
    <dsp:sp modelId="{673DD6A4-D23A-405E-B62C-D5B37E7B98B5}">
      <dsp:nvSpPr>
        <dsp:cNvPr id="0" name=""/>
        <dsp:cNvSpPr/>
      </dsp:nvSpPr>
      <dsp:spPr>
        <a:xfrm>
          <a:off x="4589146" y="1522381"/>
          <a:ext cx="1042467" cy="30167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Birth of Internet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Term “metaverse” in Snow Crash</a:t>
          </a:r>
        </a:p>
      </dsp:txBody>
      <dsp:txXfrm>
        <a:off x="4589146" y="1522381"/>
        <a:ext cx="1042467" cy="3016746"/>
      </dsp:txXfrm>
    </dsp:sp>
    <dsp:sp modelId="{520AB21A-174B-44F6-BC64-14E440A73500}">
      <dsp:nvSpPr>
        <dsp:cNvPr id="0" name=""/>
        <dsp:cNvSpPr/>
      </dsp:nvSpPr>
      <dsp:spPr>
        <a:xfrm>
          <a:off x="4589146" y="809581"/>
          <a:ext cx="1042467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82880" rIns="0" bIns="1828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1990s</a:t>
          </a:r>
        </a:p>
      </dsp:txBody>
      <dsp:txXfrm>
        <a:off x="4589146" y="809581"/>
        <a:ext cx="1042467" cy="648000"/>
      </dsp:txXfrm>
    </dsp:sp>
    <dsp:sp modelId="{D76CA733-290C-41E5-B1D0-37ACF26F8CBD}">
      <dsp:nvSpPr>
        <dsp:cNvPr id="0" name=""/>
        <dsp:cNvSpPr/>
      </dsp:nvSpPr>
      <dsp:spPr>
        <a:xfrm>
          <a:off x="3338185" y="1522381"/>
          <a:ext cx="1042467" cy="30167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Cyberspace</a:t>
          </a:r>
        </a:p>
      </dsp:txBody>
      <dsp:txXfrm>
        <a:off x="3338185" y="1522381"/>
        <a:ext cx="1042467" cy="3016746"/>
      </dsp:txXfrm>
    </dsp:sp>
    <dsp:sp modelId="{5BF2A4BE-E42B-4DED-96AD-06A79ED1B3D4}">
      <dsp:nvSpPr>
        <dsp:cNvPr id="0" name=""/>
        <dsp:cNvSpPr/>
      </dsp:nvSpPr>
      <dsp:spPr>
        <a:xfrm>
          <a:off x="3338185" y="809581"/>
          <a:ext cx="1042467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82880" rIns="0" bIns="1828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1980s</a:t>
          </a:r>
        </a:p>
      </dsp:txBody>
      <dsp:txXfrm>
        <a:off x="3338185" y="809581"/>
        <a:ext cx="1042467" cy="648000"/>
      </dsp:txXfrm>
    </dsp:sp>
    <dsp:sp modelId="{FC87C4B1-08BF-4E6A-A4AB-1989D1461A4F}">
      <dsp:nvSpPr>
        <dsp:cNvPr id="0" name=""/>
        <dsp:cNvSpPr/>
      </dsp:nvSpPr>
      <dsp:spPr>
        <a:xfrm>
          <a:off x="2087225" y="1522381"/>
          <a:ext cx="1042467" cy="30167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 err="1"/>
            <a:t>Videoplace</a:t>
          </a:r>
          <a:endParaRPr lang="en-US" sz="1400" kern="1200" dirty="0"/>
        </a:p>
      </dsp:txBody>
      <dsp:txXfrm>
        <a:off x="2087225" y="1522381"/>
        <a:ext cx="1042467" cy="3016746"/>
      </dsp:txXfrm>
    </dsp:sp>
    <dsp:sp modelId="{9ED00568-FC72-471B-87BB-427CB2003FFC}">
      <dsp:nvSpPr>
        <dsp:cNvPr id="0" name=""/>
        <dsp:cNvSpPr/>
      </dsp:nvSpPr>
      <dsp:spPr>
        <a:xfrm>
          <a:off x="2087225" y="809581"/>
          <a:ext cx="1042467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82880" rIns="0" bIns="1828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1970s</a:t>
          </a:r>
        </a:p>
      </dsp:txBody>
      <dsp:txXfrm>
        <a:off x="2087225" y="809581"/>
        <a:ext cx="1042467" cy="648000"/>
      </dsp:txXfrm>
    </dsp:sp>
    <dsp:sp modelId="{F83B620D-5DA2-423E-8326-730BA921307F}">
      <dsp:nvSpPr>
        <dsp:cNvPr id="0" name=""/>
        <dsp:cNvSpPr/>
      </dsp:nvSpPr>
      <dsp:spPr>
        <a:xfrm>
          <a:off x="836264" y="1522381"/>
          <a:ext cx="1042467" cy="30167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Sensorama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Sword of Damocles</a:t>
          </a:r>
          <a:endParaRPr lang="en-US" sz="1400" kern="1200" dirty="0"/>
        </a:p>
      </dsp:txBody>
      <dsp:txXfrm>
        <a:off x="836264" y="1522381"/>
        <a:ext cx="1042467" cy="3016746"/>
      </dsp:txXfrm>
    </dsp:sp>
    <dsp:sp modelId="{3D10985E-B11A-4EE5-8187-6D01E1C74D4C}">
      <dsp:nvSpPr>
        <dsp:cNvPr id="0" name=""/>
        <dsp:cNvSpPr/>
      </dsp:nvSpPr>
      <dsp:spPr>
        <a:xfrm>
          <a:off x="836264" y="809581"/>
          <a:ext cx="1042467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82880" rIns="0" bIns="1828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1960s</a:t>
          </a:r>
        </a:p>
      </dsp:txBody>
      <dsp:txXfrm>
        <a:off x="836264" y="809581"/>
        <a:ext cx="1042467" cy="6480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10F109-76B7-4494-93E8-0ADC4D6A3BAB}">
      <dsp:nvSpPr>
        <dsp:cNvPr id="0" name=""/>
        <dsp:cNvSpPr/>
      </dsp:nvSpPr>
      <dsp:spPr>
        <a:xfrm>
          <a:off x="70759" y="0"/>
          <a:ext cx="5577655" cy="5577655"/>
        </a:xfrm>
        <a:prstGeom prst="ellipse">
          <a:avLst/>
        </a:prstGeom>
        <a:solidFill>
          <a:schemeClr val="accent2">
            <a:shade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Experience</a:t>
          </a:r>
        </a:p>
      </dsp:txBody>
      <dsp:txXfrm>
        <a:off x="1813776" y="278882"/>
        <a:ext cx="2091621" cy="557765"/>
      </dsp:txXfrm>
    </dsp:sp>
    <dsp:sp modelId="{77823C15-35A1-4209-A57C-E7E1A72B8D69}">
      <dsp:nvSpPr>
        <dsp:cNvPr id="0" name=""/>
        <dsp:cNvSpPr/>
      </dsp:nvSpPr>
      <dsp:spPr>
        <a:xfrm>
          <a:off x="489083" y="836648"/>
          <a:ext cx="4741007" cy="4741007"/>
        </a:xfrm>
        <a:prstGeom prst="ellipse">
          <a:avLst/>
        </a:prstGeom>
        <a:solidFill>
          <a:schemeClr val="accent2">
            <a:shade val="50000"/>
            <a:hueOff val="31286"/>
            <a:satOff val="1360"/>
            <a:lumOff val="1162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covery</a:t>
          </a:r>
        </a:p>
      </dsp:txBody>
      <dsp:txXfrm>
        <a:off x="1837307" y="1109256"/>
        <a:ext cx="2044559" cy="545215"/>
      </dsp:txXfrm>
    </dsp:sp>
    <dsp:sp modelId="{C7896306-B396-4C33-9EA2-E46098CF1686}">
      <dsp:nvSpPr>
        <dsp:cNvPr id="0" name=""/>
        <dsp:cNvSpPr/>
      </dsp:nvSpPr>
      <dsp:spPr>
        <a:xfrm>
          <a:off x="907407" y="1673296"/>
          <a:ext cx="3904359" cy="3904359"/>
        </a:xfrm>
        <a:prstGeom prst="ellipse">
          <a:avLst/>
        </a:prstGeom>
        <a:solidFill>
          <a:schemeClr val="accent2">
            <a:shade val="50000"/>
            <a:hueOff val="62571"/>
            <a:satOff val="2720"/>
            <a:lumOff val="23241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Creator Economy</a:t>
          </a:r>
        </a:p>
      </dsp:txBody>
      <dsp:txXfrm>
        <a:off x="1849334" y="1942697"/>
        <a:ext cx="2020505" cy="538801"/>
      </dsp:txXfrm>
    </dsp:sp>
    <dsp:sp modelId="{3D0D136B-832A-4A15-8F15-4896CB431E75}">
      <dsp:nvSpPr>
        <dsp:cNvPr id="0" name=""/>
        <dsp:cNvSpPr/>
      </dsp:nvSpPr>
      <dsp:spPr>
        <a:xfrm>
          <a:off x="1325731" y="2509945"/>
          <a:ext cx="3067710" cy="3067710"/>
        </a:xfrm>
        <a:prstGeom prst="ellipse">
          <a:avLst/>
        </a:prstGeom>
        <a:solidFill>
          <a:schemeClr val="accent2">
            <a:shade val="50000"/>
            <a:hueOff val="93857"/>
            <a:satOff val="4080"/>
            <a:lumOff val="34861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patial Computing</a:t>
          </a:r>
        </a:p>
      </dsp:txBody>
      <dsp:txXfrm>
        <a:off x="2031305" y="2786039"/>
        <a:ext cx="1656563" cy="552187"/>
      </dsp:txXfrm>
    </dsp:sp>
    <dsp:sp modelId="{7AAD9264-F614-4DCE-A69A-AF4BFA2884F7}">
      <dsp:nvSpPr>
        <dsp:cNvPr id="0" name=""/>
        <dsp:cNvSpPr/>
      </dsp:nvSpPr>
      <dsp:spPr>
        <a:xfrm>
          <a:off x="1744055" y="3346593"/>
          <a:ext cx="2231062" cy="2231062"/>
        </a:xfrm>
        <a:prstGeom prst="ellipse">
          <a:avLst/>
        </a:prstGeom>
        <a:solidFill>
          <a:schemeClr val="accent2">
            <a:shade val="50000"/>
            <a:hueOff val="93857"/>
            <a:satOff val="4080"/>
            <a:lumOff val="34861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ecentralization</a:t>
          </a:r>
        </a:p>
      </dsp:txBody>
      <dsp:txXfrm>
        <a:off x="2134491" y="3625476"/>
        <a:ext cx="1450190" cy="557765"/>
      </dsp:txXfrm>
    </dsp:sp>
    <dsp:sp modelId="{0A808BAD-FEA5-4898-BFFA-B8DCA6051EF2}">
      <dsp:nvSpPr>
        <dsp:cNvPr id="0" name=""/>
        <dsp:cNvSpPr/>
      </dsp:nvSpPr>
      <dsp:spPr>
        <a:xfrm>
          <a:off x="2162380" y="4183242"/>
          <a:ext cx="1394413" cy="1394413"/>
        </a:xfrm>
        <a:prstGeom prst="ellipse">
          <a:avLst/>
        </a:prstGeom>
        <a:solidFill>
          <a:schemeClr val="accent2">
            <a:shade val="50000"/>
            <a:hueOff val="62571"/>
            <a:satOff val="2720"/>
            <a:lumOff val="23241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Human Interface</a:t>
          </a:r>
        </a:p>
      </dsp:txBody>
      <dsp:txXfrm>
        <a:off x="2385486" y="4391706"/>
        <a:ext cx="948201" cy="336053"/>
      </dsp:txXfrm>
    </dsp:sp>
    <dsp:sp modelId="{517FACCC-3613-4200-B232-0AF32C031FE8}">
      <dsp:nvSpPr>
        <dsp:cNvPr id="0" name=""/>
        <dsp:cNvSpPr/>
      </dsp:nvSpPr>
      <dsp:spPr>
        <a:xfrm>
          <a:off x="2441262" y="4741007"/>
          <a:ext cx="836648" cy="836648"/>
        </a:xfrm>
        <a:prstGeom prst="ellipse">
          <a:avLst/>
        </a:prstGeom>
        <a:solidFill>
          <a:schemeClr val="accent2">
            <a:shade val="50000"/>
            <a:hueOff val="31286"/>
            <a:satOff val="1360"/>
            <a:lumOff val="1162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Infrastructure</a:t>
          </a:r>
        </a:p>
      </dsp:txBody>
      <dsp:txXfrm>
        <a:off x="2563787" y="4950169"/>
        <a:ext cx="591599" cy="41832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3">
  <dgm:title val=""/>
  <dgm:desc val=""/>
  <dgm:catLst>
    <dgm:cat type="process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 chOrder="t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dummy" refType="w"/>
      <dgm:constr type="h" for="ch" forName="dummy" refType="h"/>
      <dgm:constr type="h" for="ch" forName="dummy" refType="w" refFor="ch" refForName="dummy" op="lte" fact="0.4"/>
      <dgm:constr type="ctrX" for="ch" forName="dummy" refType="w" fact="0.5"/>
      <dgm:constr type="ctrY" for="ch" forName="dummy" refType="h" fact="0.5"/>
      <dgm:constr type="w" for="ch" forName="linH" refType="w"/>
      <dgm:constr type="h" for="ch" forName="linH" refType="h"/>
      <dgm:constr type="ctrX" for="ch" forName="linH" refType="w" fact="0.5"/>
      <dgm:constr type="ctrY" for="ch" forName="linH" refType="h" fact="0.5"/>
      <dgm:constr type="userP" for="ch" forName="linH" refType="h" refFor="ch" refForName="dummy" fact="0.25"/>
      <dgm:constr type="userT" for="des" forName="parTx" refType="w" refFor="ch" refForName="dummy" fact="0.2"/>
    </dgm:constrLst>
    <dgm:ruleLst/>
    <dgm:layoutNode name="dummy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linH">
      <dgm:choose name="Name1">
        <dgm:if name="Name2" func="var" arg="dir" op="equ" val="norm">
          <dgm:alg type="lin">
            <dgm:param type="linDir" val="fromL"/>
            <dgm:param type="nodeVertAlign" val="t"/>
          </dgm:alg>
        </dgm:if>
        <dgm:else name="Name3">
          <dgm:alg type="lin">
            <dgm:param type="linDir" val="fromR"/>
            <dgm:param type="nodeVertAlign" val="t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forName="parTx" val="65"/>
        <dgm:constr type="primFontSz" for="des" forName="desTx" refType="primFontSz" refFor="des" refForName="parTx" op="equ"/>
        <dgm:constr type="h" for="des" forName="parTx" refType="primFontSz" refFor="des" refForName="parTx"/>
        <dgm:constr type="h" for="des" forName="desTx" refType="primFontSz" refFor="des" refForName="parTx" fact="0.5"/>
        <dgm:constr type="h" for="des" forName="parTx" op="equ"/>
        <dgm:constr type="h" for="des" forName="desTx" op="equ"/>
        <dgm:constr type="h" for="ch" forName="backgroundArrow" refType="primFontSz" refFor="des" refForName="parTx" fact="2"/>
        <dgm:constr type="h" for="ch" forName="backgroundArrow" refType="h" refFor="des" refForName="parTx" op="lte" fact="2"/>
        <dgm:constr type="h" for="ch" forName="backgroundArrow" refType="h" refFor="des" refForName="parTx" op="gte" fact="2"/>
        <dgm:constr type="h" for="des" forName="spVertical1" refType="primFontSz" refFor="des" refForName="parTx" fact="0.5"/>
        <dgm:constr type="h" for="des" forName="spVertical1" refType="h" refFor="des" refForName="parTx" op="lte" fact="0.5"/>
        <dgm:constr type="h" for="des" forName="spVertical1" refType="h" refFor="des" refForName="parTx" op="gte" fact="0.5"/>
        <dgm:constr type="h" for="des" forName="spVertical2" refType="primFontSz" refFor="des" refForName="parTx" fact="0.5"/>
        <dgm:constr type="h" for="des" forName="spVertical2" refType="h" refFor="des" refForName="parTx" op="lte" fact="0.5"/>
        <dgm:constr type="h" for="des" forName="spVertical2" refType="h" refFor="des" refForName="parTx" op="gte" fact="0.5"/>
        <dgm:constr type="h" for="des" forName="spVertical3" refType="primFontSz" refFor="des" refForName="parTx" fact="-0.4"/>
        <dgm:constr type="h" for="des" forName="spVertical3" refType="h" refFor="des" refForName="parTx" op="lte" fact="-0.4"/>
        <dgm:constr type="h" for="des" forName="spVertical3" refType="h" refFor="des" refForName="parTx" op="gte" fact="-0.4"/>
        <dgm:constr type="w" for="ch" forName="backgroundArrow" refType="w"/>
        <dgm:constr type="w" for="ch" forName="negArrow" refType="w" fact="-1"/>
        <dgm:constr type="w" for="ch" forName="linV" refType="w"/>
        <dgm:constr type="w" for="ch" forName="space" refType="w" refFor="ch" refForName="linV" fact="0.2"/>
        <dgm:constr type="w" for="ch" forName="padding1" refType="w" fact="0.08"/>
        <dgm:constr type="userP"/>
        <dgm:constr type="w" for="ch" forName="padding2" refType="userP"/>
      </dgm:constrLst>
      <dgm:ruleLst>
        <dgm:rule type="w" for="ch" forName="linV" val="0" fact="NaN" max="NaN"/>
        <dgm:rule type="primFontSz" for="des" forName="parTx" val="5" fact="NaN" max="NaN"/>
      </dgm:ruleLst>
      <dgm:layoutNode name="padding1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forEach name="Name4" axis="ch" ptType="node">
        <dgm:layoutNode name="linV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spVertical1" refType="w"/>
            <dgm:constr type="w" for="ch" forName="parTx" refType="w"/>
            <dgm:constr type="w" for="ch" forName="spVertical2" refType="w"/>
            <dgm:constr type="w" for="ch" forName="spVertical3" refType="w"/>
            <dgm:constr type="w" for="ch" forName="desTx" refType="w"/>
          </dgm:constrLst>
          <dgm:ruleLst/>
          <dgm:layoutNode name="spVertical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parTx" styleLbl="revTx">
            <dgm:varLst>
              <dgm:chMax val="0"/>
              <dgm:chPref val="0"/>
              <dgm:bulletEnabled val="1"/>
            </dgm:varLst>
            <dgm:choose name="Name5">
              <dgm:if name="Name6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">
                <dgm:alg type="tx">
                  <dgm:param type="parTxLTRAlign" val="ctr"/>
                  <dgm:param type="parTxRTLAlign" val="ct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hoose name="Name8">
              <dgm:if name="Name9" func="var" arg="dir" op="equ" val="norm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if>
              <dgm:else name="Name10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else>
            </dgm:choose>
            <dgm:ruleLst>
              <dgm:rule type="h" val="INF" fact="NaN" max="NaN"/>
            </dgm:ruleLst>
          </dgm:layoutNode>
          <dgm:layoutNode name="spVertical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pVertical3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choose name="Name11">
            <dgm:if name="Name12" axis="ch" ptType="node" func="cnt" op="gte" val="1">
              <dgm:layoutNode name="desTx" styleLbl="revTx">
                <dgm:varLst>
                  <dgm:bulletEnabled val="1"/>
                </dgm:varLst>
                <dgm:alg type="tx">
                  <dgm:param type="stBulletLvl" val="1"/>
                </dgm:alg>
                <dgm:shape xmlns:r="http://schemas.openxmlformats.org/officeDocument/2006/relationships" type="rect" r:blip="">
                  <dgm:adjLst/>
                </dgm:shape>
                <dgm:presOf axis="des" ptType="node"/>
                <dgm:constrLst>
                  <dgm:constr type="tMarg"/>
                  <dgm:constr type="bMarg"/>
                  <dgm:constr type="rMarg"/>
                  <dgm:constr type="lMarg"/>
                </dgm:constrLst>
                <dgm:ruleLst>
                  <dgm:rule type="h" val="INF" fact="NaN" max="NaN"/>
                </dgm:ruleLst>
              </dgm:layoutNode>
            </dgm:if>
            <dgm:else name="Name13"/>
          </dgm:choose>
        </dgm:layoutNod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  <dgm:layoutNode name="padding2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negArrow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backgroundArrow" styleLbl="node1">
        <dgm:alg type="sp"/>
        <dgm:choose name="Name15">
          <dgm:if name="Name16" func="var" arg="dir" op="equ" val="norm">
            <dgm:shape xmlns:r="http://schemas.openxmlformats.org/officeDocument/2006/relationships" type="rightArrow" r:blip="">
              <dgm:adjLst/>
            </dgm:shape>
          </dgm:if>
          <dgm:else name="Name17">
            <dgm:shape xmlns:r="http://schemas.openxmlformats.org/officeDocument/2006/relationships" type="leftArrow" r:blip="">
              <dgm:adjLst/>
            </dgm:shape>
          </dgm:else>
        </dgm:choose>
        <dgm:presOf/>
        <dgm:constrLst/>
        <dgm:ruleLst/>
      </dgm:layoutNode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29.04.2024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29.04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09211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701C665-C272-490E-8A21-0107CBA54E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C54160-9C46-4866-882D-50B5C096B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562CC6E-EDA2-4F9E-A09B-A2E54AB188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8D39B1E-A015-4084-940D-8BBABCAAC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4C7F330-3D64-4FB0-93F8-C1BA49AFA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2FD9A65-9362-4228-B368-164FA84D1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E3B85CB-7648-45C2-8AA4-9F501EFD0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ECEF4E8-D1ED-4741-8EA5-2F059DE1A8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C59CFA-1435-478E-96A7-9D9FDB54C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11DD4F3-1611-4813-B014-B6F6B1F77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5183DF9-0121-47E6-9B72-30EF7AB86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F5BEF2A-9A1E-4EAC-B0F5-2DDB471F4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568A48D-FC8F-4A69-A7C6-8F5625DC6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5D995C9-90CA-4EE8-9DD8-83F674139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87CDE6-4D31-464C-B238-7EB6F6DBD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5645238-9DEC-4A72-9BA1-F517092F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1CCC0F5-E43D-4616-B7C4-E058ADB6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873D050-8C41-4684-9B1D-81971AB5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44" imgH="344" progId="TCLayout.ActiveDocument.1">
                  <p:embed/>
                </p:oleObj>
              </mc:Choice>
              <mc:Fallback>
                <p:oleObj name="think-cell Folie" r:id="rId22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9EE4F16-695E-4248-98E9-D0E744B1D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jpeg"/><Relationship Id="rId3" Type="http://schemas.openxmlformats.org/officeDocument/2006/relationships/oleObject" Target="../embeddings/oleObject21.bin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3.xml"/><Relationship Id="rId16" Type="http://schemas.microsoft.com/office/2007/relationships/hdphoto" Target="../media/hdphoto1.wdp"/><Relationship Id="rId1" Type="http://schemas.openxmlformats.org/officeDocument/2006/relationships/tags" Target="../tags/tag22.xml"/><Relationship Id="rId6" Type="http://schemas.openxmlformats.org/officeDocument/2006/relationships/hyperlink" Target="https://www.press.bmwgroup.com/global" TargetMode="External"/><Relationship Id="rId11" Type="http://schemas.openxmlformats.org/officeDocument/2006/relationships/image" Target="../media/image10.png"/><Relationship Id="rId5" Type="http://schemas.openxmlformats.org/officeDocument/2006/relationships/hyperlink" Target="https://dam.bmwgroup.net/otmm/ux-html/index.html?p=home" TargetMode="External"/><Relationship Id="rId15" Type="http://schemas.openxmlformats.org/officeDocument/2006/relationships/image" Target="../media/image14.png"/><Relationship Id="rId10" Type="http://schemas.openxmlformats.org/officeDocument/2006/relationships/image" Target="../media/image9.jpeg"/><Relationship Id="rId4" Type="http://schemas.openxmlformats.org/officeDocument/2006/relationships/image" Target="../media/image1.emf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B9BD1F03-6868-4695-ABC4-C9B67B1BC7C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F1F9DB8-A99C-422C-901C-7E61CA74D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3CB7722-4E54-47C6-B05B-5493F42082E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27420C68-3E9C-4DC1-997E-9B3FA63A9B6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7120ECED-4AB7-4EA7-922B-4BD51B50C061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</p:sp>
      <p:sp>
        <p:nvSpPr>
          <p:cNvPr id="7" name="SmartArt-Platzhalter 6">
            <a:extLst>
              <a:ext uri="{FF2B5EF4-FFF2-40B4-BE49-F238E27FC236}">
                <a16:creationId xmlns:a16="http://schemas.microsoft.com/office/drawing/2014/main" id="{3FCB9DCD-007B-4683-8446-BA738D2F3012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</p:sp>
    </p:spTree>
    <p:extLst>
      <p:ext uri="{BB962C8B-B14F-4D97-AF65-F5344CB8AC3E}">
        <p14:creationId xmlns:p14="http://schemas.microsoft.com/office/powerpoint/2010/main" val="26010263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6FA3743-F7B5-1CD4-CDB7-E4FB8903AF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imeli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D2D58EE-79AB-7D23-6D3B-09F41D1ACA7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D89DB829-0CAB-6EDC-E21F-3BE2DFE9B5F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6995765"/>
              </p:ext>
            </p:extLst>
          </p:nvPr>
        </p:nvGraphicFramePr>
        <p:xfrm>
          <a:off x="1001486" y="1994478"/>
          <a:ext cx="10427216" cy="50247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325331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5103D9-BD8C-3A15-724D-05BAC0486FC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377273"/>
            <a:ext cx="6369154" cy="615553"/>
          </a:xfrm>
        </p:spPr>
        <p:txBody>
          <a:bodyPr/>
          <a:lstStyle/>
          <a:p>
            <a:r>
              <a:rPr lang="en-US" sz="4000" dirty="0"/>
              <a:t>The 7 Layers of the Metavers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9882EE1-809F-87C5-31A3-E67F967AA2A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46DE4194-2B3B-C380-DEB9-2580C3C753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7853603"/>
              </p:ext>
            </p:extLst>
          </p:nvPr>
        </p:nvGraphicFramePr>
        <p:xfrm>
          <a:off x="479425" y="992826"/>
          <a:ext cx="5719174" cy="55776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897822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kt 34" hidden="1">
            <a:extLst>
              <a:ext uri="{FF2B5EF4-FFF2-40B4-BE49-F238E27FC236}">
                <a16:creationId xmlns:a16="http://schemas.microsoft.com/office/drawing/2014/main" id="{00F97095-494D-4B45-ADAD-5957B35B20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6705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35" name="Objekt 34" hidden="1">
                        <a:extLst>
                          <a:ext uri="{FF2B5EF4-FFF2-40B4-BE49-F238E27FC236}">
                            <a16:creationId xmlns:a16="http://schemas.microsoft.com/office/drawing/2014/main" id="{00F97095-494D-4B45-ADAD-5957B35B20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hteck 39">
            <a:extLst>
              <a:ext uri="{FF2B5EF4-FFF2-40B4-BE49-F238E27FC236}">
                <a16:creationId xmlns:a16="http://schemas.microsoft.com/office/drawing/2014/main" id="{11CA5AF4-764B-4667-8CD0-BAEC2951068F}"/>
              </a:ext>
            </a:extLst>
          </p:cNvPr>
          <p:cNvSpPr>
            <a:spLocks/>
          </p:cNvSpPr>
          <p:nvPr/>
        </p:nvSpPr>
        <p:spPr>
          <a:xfrm>
            <a:off x="10753725" y="1526972"/>
            <a:ext cx="959905" cy="19972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3000"/>
              </a:lnSpc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Use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3597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only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 </a:t>
            </a: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official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 imagery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3597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93000"/>
              </a:lnSpc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  <a:hlinkClick r:id="rId5"/>
              </a:rPr>
              <a:t>DAM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3000"/>
              </a:lnSpc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  <a:hlinkClick r:id="rId6"/>
              </a:rPr>
              <a:t>Pressclub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BD4F2AF8-7B46-4055-9D34-0117CBD4B242}"/>
              </a:ext>
            </a:extLst>
          </p:cNvPr>
          <p:cNvSpPr/>
          <p:nvPr/>
        </p:nvSpPr>
        <p:spPr>
          <a:xfrm>
            <a:off x="8092070" y="3990976"/>
            <a:ext cx="3621561" cy="231775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444" tIns="117728" rIns="2340000" bIns="81724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3000"/>
              </a:lnSpc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The blank space is reserved for the Azure Information Protection confidentiality signature which has to be visible on all slides.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25100F5-5318-4372-95AA-95B3175D8FD9}"/>
              </a:ext>
            </a:extLst>
          </p:cNvPr>
          <p:cNvSpPr>
            <a:spLocks/>
          </p:cNvSpPr>
          <p:nvPr/>
        </p:nvSpPr>
        <p:spPr>
          <a:xfrm>
            <a:off x="488947" y="3990976"/>
            <a:ext cx="3621561" cy="231775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444" tIns="117728" rIns="127444" bIns="81724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3000"/>
              </a:lnSpc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With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79EDA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°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79EDA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PowerOn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 you can easily edit the footer via the function “FOOTER”.</a:t>
            </a:r>
          </a:p>
          <a:p>
            <a:pPr marL="0" marR="0" lvl="0" indent="0" algn="l" defTabSz="914400" rtl="0" eaLnBrk="1" fontAlgn="auto" latinLnBrk="0" hangingPunct="1">
              <a:lnSpc>
                <a:spcPct val="93000"/>
              </a:lnSpc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The ribbons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79EDA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°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79EDA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PowerOn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,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79EDA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 °Gallery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and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79EDA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 °Chronos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offer additional support, e.g. by inserting example slides with just on click. 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79EDA"/>
                </a:solidFill>
                <a:effectLst/>
                <a:uLnTx/>
                <a:uFillTx/>
                <a:latin typeface="BMWGroupTN Condensed"/>
                <a:ea typeface="+mn-ea"/>
                <a:cs typeface="+mn-cs"/>
                <a:sym typeface="Wingdings" panose="05000000000000000000" pitchFamily="2" charset="2"/>
              </a:rPr>
              <a:t> Get it @ WUS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MWGroupTN Condensed"/>
                <a:ea typeface="+mn-ea"/>
                <a:cs typeface="+mn-cs"/>
                <a:sym typeface="Wingdings" panose="05000000000000000000" pitchFamily="2" charset="2"/>
              </a:rPr>
              <a:t>*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242380FB-1EC4-4E9D-B99F-72BF6695046A}"/>
              </a:ext>
            </a:extLst>
          </p:cNvPr>
          <p:cNvSpPr>
            <a:spLocks/>
          </p:cNvSpPr>
          <p:nvPr/>
        </p:nvSpPr>
        <p:spPr>
          <a:xfrm>
            <a:off x="4290508" y="3990976"/>
            <a:ext cx="3621561" cy="231775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444" tIns="117728" rIns="1584000" bIns="81724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3000"/>
              </a:lnSpc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3597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Ocean Blue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 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is our main colour. </a:t>
            </a:r>
          </a:p>
          <a:p>
            <a:pPr marL="0" marR="0" lvl="0" indent="0" algn="l" defTabSz="914400" rtl="0" eaLnBrk="1" fontAlgn="auto" latinLnBrk="0" hangingPunct="1">
              <a:lnSpc>
                <a:spcPct val="93000"/>
              </a:lnSpc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If you use text on coloured areas please ensure a good legibility with high contrast.</a:t>
            </a:r>
            <a:endParaRPr lang="de-DE" dirty="0">
              <a:solidFill>
                <a:schemeClr val="tx1"/>
              </a:solidFill>
            </a:endParaRPr>
          </a:p>
        </p:txBody>
      </p:sp>
      <p:grpSp>
        <p:nvGrpSpPr>
          <p:cNvPr id="84" name="Gruppieren 83">
            <a:extLst>
              <a:ext uri="{FF2B5EF4-FFF2-40B4-BE49-F238E27FC236}">
                <a16:creationId xmlns:a16="http://schemas.microsoft.com/office/drawing/2014/main" id="{3702DFB2-7BF6-4497-BE5E-9F654B4E2AFF}"/>
              </a:ext>
            </a:extLst>
          </p:cNvPr>
          <p:cNvGrpSpPr/>
          <p:nvPr/>
        </p:nvGrpSpPr>
        <p:grpSpPr>
          <a:xfrm>
            <a:off x="4419713" y="5283055"/>
            <a:ext cx="1517578" cy="718906"/>
            <a:chOff x="4402251" y="5235430"/>
            <a:chExt cx="1256550" cy="595252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E96ECB87-A204-4235-89B1-2BB544343320}"/>
                </a:ext>
              </a:extLst>
            </p:cNvPr>
            <p:cNvSpPr>
              <a:spLocks/>
            </p:cNvSpPr>
            <p:nvPr/>
          </p:nvSpPr>
          <p:spPr>
            <a:xfrm>
              <a:off x="5063549" y="5235430"/>
              <a:ext cx="595252" cy="595252"/>
            </a:xfrm>
            <a:prstGeom prst="rect">
              <a:avLst/>
            </a:prstGeom>
            <a:solidFill>
              <a:schemeClr val="bg1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36005" rIns="91440" bIns="36005" rtlCol="0" anchor="ctr" anchorCtr="0">
              <a:spAutoFit/>
            </a:bodyPr>
            <a:lstStyle/>
            <a:p>
              <a:pPr algn="l">
                <a:lnSpc>
                  <a:spcPct val="93000"/>
                </a:lnSpc>
              </a:pPr>
              <a:r>
                <a:rPr lang="en-GB" sz="1400" dirty="0">
                  <a:solidFill>
                    <a:schemeClr val="tx1"/>
                  </a:solidFill>
                </a:rPr>
                <a:t>Black text</a:t>
              </a: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D9AE06B7-D95F-4F63-BB56-9819949B55F4}"/>
                </a:ext>
              </a:extLst>
            </p:cNvPr>
            <p:cNvSpPr>
              <a:spLocks/>
            </p:cNvSpPr>
            <p:nvPr/>
          </p:nvSpPr>
          <p:spPr>
            <a:xfrm>
              <a:off x="4402251" y="5235430"/>
              <a:ext cx="595252" cy="595252"/>
            </a:xfrm>
            <a:prstGeom prst="rect">
              <a:avLst/>
            </a:prstGeom>
            <a:solidFill>
              <a:schemeClr val="tx2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36005" rIns="91440" bIns="36005" rtlCol="0" anchor="ctr" anchorCtr="0">
              <a:spAutoFit/>
            </a:bodyPr>
            <a:lstStyle/>
            <a:p>
              <a:pPr algn="l">
                <a:lnSpc>
                  <a:spcPct val="93000"/>
                </a:lnSpc>
              </a:pPr>
              <a:r>
                <a:rPr lang="en-GB" sz="1400" dirty="0">
                  <a:solidFill>
                    <a:schemeClr val="bg1"/>
                  </a:solidFill>
                </a:rPr>
                <a:t>White text</a:t>
              </a:r>
            </a:p>
          </p:txBody>
        </p:sp>
      </p:grpSp>
      <p:pic>
        <p:nvPicPr>
          <p:cNvPr id="15" name="Grafik 14">
            <a:extLst>
              <a:ext uri="{FF2B5EF4-FFF2-40B4-BE49-F238E27FC236}">
                <a16:creationId xmlns:a16="http://schemas.microsoft.com/office/drawing/2014/main" id="{1FB5D9C1-CB06-4903-9522-C1BAD07ABD8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"/>
          <a:stretch/>
        </p:blipFill>
        <p:spPr>
          <a:xfrm>
            <a:off x="8194080" y="5954336"/>
            <a:ext cx="3380732" cy="208592"/>
          </a:xfrm>
          <a:prstGeom prst="rect">
            <a:avLst/>
          </a:prstGeom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>
              <a:prstClr val="black">
                <a:alpha val="40000"/>
              </a:prstClr>
            </a:outerShdw>
          </a:effectLst>
        </p:spPr>
      </p:pic>
      <p:graphicFrame>
        <p:nvGraphicFramePr>
          <p:cNvPr id="19" name="Tabelle 18">
            <a:extLst>
              <a:ext uri="{FF2B5EF4-FFF2-40B4-BE49-F238E27FC236}">
                <a16:creationId xmlns:a16="http://schemas.microsoft.com/office/drawing/2014/main" id="{CC4BFCC7-1D9A-4ED8-A1AE-9C9E27EC8F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5000779"/>
              </p:ext>
            </p:extLst>
          </p:nvPr>
        </p:nvGraphicFramePr>
        <p:xfrm>
          <a:off x="488947" y="1080806"/>
          <a:ext cx="11224684" cy="334759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1224684">
                  <a:extLst>
                    <a:ext uri="{9D8B030D-6E8A-4147-A177-3AD203B41FA5}">
                      <a16:colId xmlns:a16="http://schemas.microsoft.com/office/drawing/2014/main" val="217981634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Please find additional </a:t>
                      </a:r>
                      <a:r>
                        <a:rPr lang="en-US" sz="1600" b="0" dirty="0">
                          <a:solidFill>
                            <a:srgbClr val="6DCBF1"/>
                          </a:solidFill>
                          <a:latin typeface="+mn-lt"/>
                          <a:sym typeface="+mn-lt"/>
                        </a:rPr>
                        <a:t>Masters</a:t>
                      </a:r>
                      <a:r>
                        <a:rPr lang="en-US" sz="1600" b="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 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(for different sender designations)</a:t>
                      </a:r>
                      <a:r>
                        <a:rPr lang="en-US" sz="1600" b="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, a “</a:t>
                      </a:r>
                      <a:r>
                        <a:rPr lang="en-US" sz="1600" b="0" dirty="0">
                          <a:solidFill>
                            <a:srgbClr val="6DCBF1"/>
                          </a:solidFill>
                          <a:latin typeface="+mn-lt"/>
                          <a:sym typeface="+mn-lt"/>
                        </a:rPr>
                        <a:t>How To</a:t>
                      </a:r>
                      <a:r>
                        <a:rPr lang="en-US" sz="1600" b="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” document and </a:t>
                      </a:r>
                      <a:r>
                        <a:rPr lang="en-US" sz="1600" b="0" dirty="0">
                          <a:solidFill>
                            <a:srgbClr val="6DCBF1"/>
                          </a:solidFill>
                          <a:latin typeface="+mn-lt"/>
                          <a:sym typeface="+mn-lt"/>
                        </a:rPr>
                        <a:t>Title Slides </a:t>
                      </a:r>
                      <a:r>
                        <a:rPr lang="en-US" sz="1600" b="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in PowerPoint – file – new…</a:t>
                      </a:r>
                      <a:endParaRPr lang="en-US" sz="1600" b="0" noProof="1">
                        <a:solidFill>
                          <a:schemeClr val="bg1"/>
                        </a:solidFill>
                        <a:latin typeface="+mn-lt"/>
                        <a:sym typeface="+mn-lt"/>
                      </a:endParaRPr>
                    </a:p>
                  </a:txBody>
                  <a:tcPr marL="72009" marR="72009" marT="54000" marB="54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mpd="sng">
                      <a:solidFill>
                        <a:schemeClr val="tx2"/>
                      </a:solidFill>
                      <a:prstDash val="soli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6632867"/>
                  </a:ext>
                </a:extLst>
              </a:tr>
            </a:tbl>
          </a:graphicData>
        </a:graphic>
      </p:graphicFrame>
      <p:sp>
        <p:nvSpPr>
          <p:cNvPr id="56" name="Textfeld 55">
            <a:extLst>
              <a:ext uri="{FF2B5EF4-FFF2-40B4-BE49-F238E27FC236}">
                <a16:creationId xmlns:a16="http://schemas.microsoft.com/office/drawing/2014/main" id="{2858ED13-D552-4D2E-BF90-234458530E15}"/>
              </a:ext>
            </a:extLst>
          </p:cNvPr>
          <p:cNvSpPr txBox="1"/>
          <p:nvPr/>
        </p:nvSpPr>
        <p:spPr>
          <a:xfrm>
            <a:off x="885425" y="1536497"/>
            <a:ext cx="1406219" cy="47769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l" rtl="0">
              <a:lnSpc>
                <a:spcPct val="93000"/>
              </a:lnSpc>
              <a:spcAft>
                <a:spcPts val="600"/>
              </a:spcAft>
            </a:pPr>
            <a:r>
              <a:rPr lang="en-US" sz="1400" b="0" dirty="0">
                <a:solidFill>
                  <a:schemeClr val="tx1"/>
                </a:solidFill>
                <a:latin typeface="+mn-lt"/>
                <a:sym typeface="+mn-lt"/>
              </a:rPr>
              <a:t>(Templates) </a:t>
            </a:r>
          </a:p>
          <a:p>
            <a:pPr algn="l" rtl="0">
              <a:lnSpc>
                <a:spcPct val="93000"/>
              </a:lnSpc>
              <a:spcAft>
                <a:spcPts val="600"/>
              </a:spcAft>
            </a:pPr>
            <a:r>
              <a:rPr lang="en-US" sz="1400" b="0" dirty="0">
                <a:solidFill>
                  <a:schemeClr val="tx1"/>
                </a:solidFill>
                <a:latin typeface="+mn-lt"/>
                <a:sym typeface="+mn-lt"/>
              </a:rPr>
              <a:t>BMW GROUP 2021:</a:t>
            </a:r>
          </a:p>
        </p:txBody>
      </p: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E607DAA7-5C17-4891-B0A3-E37E1E9CADB7}"/>
              </a:ext>
            </a:extLst>
          </p:cNvPr>
          <p:cNvGrpSpPr/>
          <p:nvPr/>
        </p:nvGrpSpPr>
        <p:grpSpPr>
          <a:xfrm>
            <a:off x="555622" y="1498480"/>
            <a:ext cx="272270" cy="503482"/>
            <a:chOff x="479425" y="1873111"/>
            <a:chExt cx="400110" cy="788262"/>
          </a:xfrm>
        </p:grpSpPr>
        <p:pic>
          <p:nvPicPr>
            <p:cNvPr id="62" name="Picture 8" descr="Ordner Icons - 162,355 kostenlose Vektor-Icons">
              <a:extLst>
                <a:ext uri="{FF2B5EF4-FFF2-40B4-BE49-F238E27FC236}">
                  <a16:creationId xmlns:a16="http://schemas.microsoft.com/office/drawing/2014/main" id="{AE4DE929-0CD8-493F-901E-DE479480F84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425" y="1873111"/>
              <a:ext cx="400110" cy="4001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Picture 8" descr="Ordner Icons - 162,355 kostenlose Vektor-Icons">
              <a:extLst>
                <a:ext uri="{FF2B5EF4-FFF2-40B4-BE49-F238E27FC236}">
                  <a16:creationId xmlns:a16="http://schemas.microsoft.com/office/drawing/2014/main" id="{777F75E8-CD95-4F01-9A71-297EE3F112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425" y="2261263"/>
              <a:ext cx="400110" cy="4001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6" name="Grafik 2">
            <a:extLst>
              <a:ext uri="{FF2B5EF4-FFF2-40B4-BE49-F238E27FC236}">
                <a16:creationId xmlns:a16="http://schemas.microsoft.com/office/drawing/2014/main" id="{426C4787-E8C0-4137-A4A7-D6E3A3ECE9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09714" y="1536498"/>
            <a:ext cx="2932114" cy="1086341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2" name="Gruppieren 81">
            <a:extLst>
              <a:ext uri="{FF2B5EF4-FFF2-40B4-BE49-F238E27FC236}">
                <a16:creationId xmlns:a16="http://schemas.microsoft.com/office/drawing/2014/main" id="{B6244947-70D6-4349-AC07-A326D1466258}"/>
              </a:ext>
            </a:extLst>
          </p:cNvPr>
          <p:cNvGrpSpPr/>
          <p:nvPr/>
        </p:nvGrpSpPr>
        <p:grpSpPr>
          <a:xfrm>
            <a:off x="7703542" y="1536498"/>
            <a:ext cx="2932114" cy="2246772"/>
            <a:chOff x="8067324" y="1536498"/>
            <a:chExt cx="2932114" cy="2246772"/>
          </a:xfrm>
        </p:grpSpPr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A08CF30E-B357-4811-B93B-32618D37505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67324" y="1536498"/>
              <a:ext cx="2932114" cy="1955939"/>
            </a:xfrm>
            <a:prstGeom prst="rect">
              <a:avLst/>
            </a:prstGeom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headEnd type="none" w="med" len="med"/>
              <a:tailEnd type="none" w="med" len="med"/>
            </a:ln>
            <a:effectLst>
              <a:outerShdw blurRad="50800" dist="38100" dir="2700000" algn="tl">
                <a:prstClr val="black">
                  <a:alpha val="40000"/>
                </a:prstClr>
              </a:outerShdw>
            </a:effectLst>
          </p:spPr>
        </p:pic>
        <p:sp>
          <p:nvSpPr>
            <p:cNvPr id="70" name="Textfeld 69">
              <a:extLst>
                <a:ext uri="{FF2B5EF4-FFF2-40B4-BE49-F238E27FC236}">
                  <a16:creationId xmlns:a16="http://schemas.microsoft.com/office/drawing/2014/main" id="{0C63AB02-73BC-40B4-ABED-2B205C57CA08}"/>
                </a:ext>
              </a:extLst>
            </p:cNvPr>
            <p:cNvSpPr txBox="1"/>
            <p:nvPr/>
          </p:nvSpPr>
          <p:spPr>
            <a:xfrm>
              <a:off x="8349560" y="3582894"/>
              <a:ext cx="1342034" cy="200376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algn="l" rtl="0">
                <a:lnSpc>
                  <a:spcPct val="93000"/>
                </a:lnSpc>
                <a:spcAft>
                  <a:spcPts val="600"/>
                </a:spcAft>
              </a:pPr>
              <a:r>
                <a:rPr lang="en-US" sz="1400" b="0" dirty="0" err="1">
                  <a:solidFill>
                    <a:schemeClr val="tx1"/>
                  </a:solidFill>
                  <a:latin typeface="+mn-lt"/>
                  <a:sym typeface="+mn-lt"/>
                </a:rPr>
                <a:t>BMWG_Title_Slides</a:t>
              </a:r>
              <a:endParaRPr lang="en-US" sz="1400" b="0" dirty="0">
                <a:solidFill>
                  <a:schemeClr val="tx1"/>
                </a:solidFill>
                <a:latin typeface="+mn-lt"/>
                <a:sym typeface="+mn-lt"/>
              </a:endParaRPr>
            </a:p>
          </p:txBody>
        </p:sp>
        <p:pic>
          <p:nvPicPr>
            <p:cNvPr id="71" name="Picture 11">
              <a:extLst>
                <a:ext uri="{FF2B5EF4-FFF2-40B4-BE49-F238E27FC236}">
                  <a16:creationId xmlns:a16="http://schemas.microsoft.com/office/drawing/2014/main" id="{A25D5E81-FEA5-4260-8614-D4CE50C58EE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67324" y="3582894"/>
              <a:ext cx="200376" cy="2003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0DE994BF-86D0-4211-A5CD-C704EBA7F6F0}"/>
              </a:ext>
            </a:extLst>
          </p:cNvPr>
          <p:cNvSpPr/>
          <p:nvPr/>
        </p:nvSpPr>
        <p:spPr>
          <a:xfrm>
            <a:off x="4924851" y="2633862"/>
            <a:ext cx="458529" cy="499621"/>
          </a:xfrm>
          <a:custGeom>
            <a:avLst/>
            <a:gdLst>
              <a:gd name="connsiteX0" fmla="*/ 0 w 480767"/>
              <a:gd name="connsiteY0" fmla="*/ 0 h 499621"/>
              <a:gd name="connsiteX1" fmla="*/ 0 w 480767"/>
              <a:gd name="connsiteY1" fmla="*/ 499621 h 499621"/>
              <a:gd name="connsiteX2" fmla="*/ 480767 w 480767"/>
              <a:gd name="connsiteY2" fmla="*/ 499621 h 499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0767" h="499621">
                <a:moveTo>
                  <a:pt x="0" y="0"/>
                </a:moveTo>
                <a:lnTo>
                  <a:pt x="0" y="499621"/>
                </a:lnTo>
                <a:lnTo>
                  <a:pt x="480767" y="499621"/>
                </a:lnTo>
              </a:path>
            </a:pathLst>
          </a:custGeom>
          <a:noFill/>
          <a:ln w="19050">
            <a:solidFill>
              <a:schemeClr val="tx2"/>
            </a:solidFill>
            <a:miter lim="800000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9" name="Freihandform: Form 78">
            <a:extLst>
              <a:ext uri="{FF2B5EF4-FFF2-40B4-BE49-F238E27FC236}">
                <a16:creationId xmlns:a16="http://schemas.microsoft.com/office/drawing/2014/main" id="{E14BE39E-0854-431F-B0DA-065498D6794F}"/>
              </a:ext>
            </a:extLst>
          </p:cNvPr>
          <p:cNvSpPr/>
          <p:nvPr/>
        </p:nvSpPr>
        <p:spPr>
          <a:xfrm>
            <a:off x="4206223" y="2633862"/>
            <a:ext cx="3415459" cy="1033134"/>
          </a:xfrm>
          <a:custGeom>
            <a:avLst/>
            <a:gdLst>
              <a:gd name="connsiteX0" fmla="*/ 0 w 480767"/>
              <a:gd name="connsiteY0" fmla="*/ 0 h 499621"/>
              <a:gd name="connsiteX1" fmla="*/ 0 w 480767"/>
              <a:gd name="connsiteY1" fmla="*/ 499621 h 499621"/>
              <a:gd name="connsiteX2" fmla="*/ 480767 w 480767"/>
              <a:gd name="connsiteY2" fmla="*/ 499621 h 499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0767" h="499621">
                <a:moveTo>
                  <a:pt x="0" y="0"/>
                </a:moveTo>
                <a:lnTo>
                  <a:pt x="0" y="499621"/>
                </a:lnTo>
                <a:lnTo>
                  <a:pt x="480767" y="499621"/>
                </a:lnTo>
              </a:path>
            </a:pathLst>
          </a:custGeom>
          <a:noFill/>
          <a:ln w="19050">
            <a:solidFill>
              <a:schemeClr val="tx2"/>
            </a:solidFill>
            <a:miter lim="800000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0" name="Grafik 79">
            <a:extLst>
              <a:ext uri="{FF2B5EF4-FFF2-40B4-BE49-F238E27FC236}">
                <a16:creationId xmlns:a16="http://schemas.microsoft.com/office/drawing/2014/main" id="{39241686-6987-4918-BC56-43E08C250DD2}"/>
              </a:ext>
            </a:extLst>
          </p:cNvPr>
          <p:cNvPicPr>
            <a:picLocks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320" t="-85" r="-3320" b="-85"/>
          <a:stretch/>
        </p:blipFill>
        <p:spPr>
          <a:xfrm>
            <a:off x="6559326" y="4128048"/>
            <a:ext cx="1178907" cy="203488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>
              <a:prstClr val="black">
                <a:alpha val="40000"/>
              </a:prstClr>
            </a:outerShdw>
          </a:effectLst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06913411-BB14-4405-8D0E-8588C5CBB14B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9243" y="4128048"/>
            <a:ext cx="2096519" cy="1179292"/>
          </a:xfrm>
          <a:prstGeom prst="rect">
            <a:avLst/>
          </a:prstGeom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>
              <a:prstClr val="black">
                <a:alpha val="40000"/>
              </a:prstClr>
            </a:outerShdw>
          </a:effectLst>
        </p:spPr>
      </p:pic>
      <p:sp>
        <p:nvSpPr>
          <p:cNvPr id="30" name="Pfeil: nach oben 29">
            <a:extLst>
              <a:ext uri="{FF2B5EF4-FFF2-40B4-BE49-F238E27FC236}">
                <a16:creationId xmlns:a16="http://schemas.microsoft.com/office/drawing/2014/main" id="{A96FF80D-A6B5-4862-A5F8-F2BD4F0898B4}"/>
              </a:ext>
            </a:extLst>
          </p:cNvPr>
          <p:cNvSpPr/>
          <p:nvPr/>
        </p:nvSpPr>
        <p:spPr>
          <a:xfrm>
            <a:off x="10355184" y="5378061"/>
            <a:ext cx="304636" cy="304636"/>
          </a:xfrm>
          <a:prstGeom prst="upArrow">
            <a:avLst/>
          </a:prstGeom>
          <a:gradFill flip="none" rotWithShape="1">
            <a:gsLst>
              <a:gs pos="0">
                <a:schemeClr val="accent6">
                  <a:alpha val="0"/>
                </a:schemeClr>
              </a:gs>
              <a:gs pos="33000">
                <a:srgbClr val="CD4D4F"/>
              </a:gs>
              <a:gs pos="67000">
                <a:srgbClr val="C00000"/>
              </a:gs>
            </a:gsLst>
            <a:lin ang="16200000" scaled="1"/>
            <a:tileRect/>
          </a:gra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4" name="Titel 33">
            <a:extLst>
              <a:ext uri="{FF2B5EF4-FFF2-40B4-BE49-F238E27FC236}">
                <a16:creationId xmlns:a16="http://schemas.microsoft.com/office/drawing/2014/main" id="{3E7B8F74-5C81-4CBE-A7C1-73EF6856E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/>
          <a:p>
            <a:r>
              <a:rPr lang="de-DE"/>
              <a:t>Relevant user information.</a:t>
            </a:r>
            <a:endParaRPr lang="de-DE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B60DCE8B-A0B8-4F7F-89B4-C7D47B7E8CCD}"/>
              </a:ext>
            </a:extLst>
          </p:cNvPr>
          <p:cNvGrpSpPr/>
          <p:nvPr/>
        </p:nvGrpSpPr>
        <p:grpSpPr>
          <a:xfrm>
            <a:off x="5493287" y="1536497"/>
            <a:ext cx="2125574" cy="1705467"/>
            <a:chOff x="5459898" y="1536498"/>
            <a:chExt cx="2125574" cy="1705467"/>
          </a:xfrm>
        </p:grpSpPr>
        <p:pic>
          <p:nvPicPr>
            <p:cNvPr id="77" name="Picture 11">
              <a:extLst>
                <a:ext uri="{FF2B5EF4-FFF2-40B4-BE49-F238E27FC236}">
                  <a16:creationId xmlns:a16="http://schemas.microsoft.com/office/drawing/2014/main" id="{EFAD477A-88AA-4C1E-A246-37A4A98FE5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9898" y="3041589"/>
              <a:ext cx="200376" cy="2003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8" name="Textfeld 77">
              <a:extLst>
                <a:ext uri="{FF2B5EF4-FFF2-40B4-BE49-F238E27FC236}">
                  <a16:creationId xmlns:a16="http://schemas.microsoft.com/office/drawing/2014/main" id="{860A14E7-C165-442F-843D-4CFB70A69DE2}"/>
                </a:ext>
              </a:extLst>
            </p:cNvPr>
            <p:cNvSpPr txBox="1"/>
            <p:nvPr/>
          </p:nvSpPr>
          <p:spPr>
            <a:xfrm>
              <a:off x="5736792" y="3041589"/>
              <a:ext cx="1091837" cy="200376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algn="l" rtl="0">
                <a:lnSpc>
                  <a:spcPct val="93000"/>
                </a:lnSpc>
                <a:spcAft>
                  <a:spcPts val="600"/>
                </a:spcAft>
              </a:pPr>
              <a:r>
                <a:rPr lang="en-US" sz="1400" b="0" dirty="0" err="1">
                  <a:solidFill>
                    <a:schemeClr val="tx1"/>
                  </a:solidFill>
                  <a:latin typeface="+mn-lt"/>
                  <a:sym typeface="+mn-lt"/>
                </a:rPr>
                <a:t>BMWG_How_To</a:t>
              </a:r>
              <a:endParaRPr lang="en-US" sz="1400" b="0" dirty="0">
                <a:solidFill>
                  <a:schemeClr val="tx1"/>
                </a:solidFill>
                <a:latin typeface="+mn-lt"/>
                <a:sym typeface="+mn-lt"/>
              </a:endParaRPr>
            </a:p>
          </p:txBody>
        </p:sp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0A7CC429-4626-46A6-BABD-1E0A48529AF4}"/>
                </a:ext>
              </a:extLst>
            </p:cNvPr>
            <p:cNvPicPr>
              <a:picLocks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59898" y="1536498"/>
              <a:ext cx="2125574" cy="1396787"/>
            </a:xfrm>
            <a:prstGeom prst="rect">
              <a:avLst/>
            </a:prstGeom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098AEB2B-B0DE-4D78-AC74-5B0A65D8394A}"/>
              </a:ext>
            </a:extLst>
          </p:cNvPr>
          <p:cNvGrpSpPr/>
          <p:nvPr/>
        </p:nvGrpSpPr>
        <p:grpSpPr>
          <a:xfrm>
            <a:off x="617187" y="5283055"/>
            <a:ext cx="2416577" cy="886222"/>
            <a:chOff x="617187" y="5283055"/>
            <a:chExt cx="2416577" cy="886222"/>
          </a:xfrm>
        </p:grpSpPr>
        <p:pic>
          <p:nvPicPr>
            <p:cNvPr id="74" name="Grafik 73">
              <a:extLst>
                <a:ext uri="{FF2B5EF4-FFF2-40B4-BE49-F238E27FC236}">
                  <a16:creationId xmlns:a16="http://schemas.microsoft.com/office/drawing/2014/main" id="{8A240267-ACAD-4098-AEF3-3A0C29AD9F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rightnessContrast bright="20000" contrast="-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417227" y="5283055"/>
              <a:ext cx="515606" cy="171869"/>
            </a:xfrm>
            <a:prstGeom prst="rect">
              <a:avLst/>
            </a:prstGeom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>
                <a:prstClr val="black">
                  <a:alpha val="40000"/>
                </a:prstClr>
              </a:outerShdw>
            </a:effectLst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B939744A-5AB0-FC99-99DD-135E00125B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rcRect r="1027"/>
            <a:stretch>
              <a:fillRect/>
            </a:stretch>
          </p:blipFill>
          <p:spPr>
            <a:xfrm>
              <a:off x="617187" y="5467483"/>
              <a:ext cx="2416577" cy="701794"/>
            </a:xfrm>
            <a:custGeom>
              <a:avLst/>
              <a:gdLst>
                <a:gd name="connsiteX0" fmla="*/ 0 w 2416577"/>
                <a:gd name="connsiteY0" fmla="*/ 0 h 701794"/>
                <a:gd name="connsiteX1" fmla="*/ 2416577 w 2416577"/>
                <a:gd name="connsiteY1" fmla="*/ 0 h 701794"/>
                <a:gd name="connsiteX2" fmla="*/ 2058538 w 2416577"/>
                <a:gd name="connsiteY2" fmla="*/ 701794 h 701794"/>
                <a:gd name="connsiteX3" fmla="*/ 0 w 2416577"/>
                <a:gd name="connsiteY3" fmla="*/ 701794 h 701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6577" h="701794">
                  <a:moveTo>
                    <a:pt x="0" y="0"/>
                  </a:moveTo>
                  <a:lnTo>
                    <a:pt x="2416577" y="0"/>
                  </a:lnTo>
                  <a:lnTo>
                    <a:pt x="2058538" y="701794"/>
                  </a:lnTo>
                  <a:lnTo>
                    <a:pt x="0" y="701794"/>
                  </a:lnTo>
                  <a:close/>
                </a:path>
              </a:pathLst>
            </a:custGeom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>
                <a:prstClr val="black">
                  <a:alpha val="40000"/>
                </a:prstClr>
              </a:outerShdw>
            </a:effectLst>
          </p:spPr>
        </p:pic>
        <p:sp>
          <p:nvSpPr>
            <p:cNvPr id="76" name="Rechteck 75">
              <a:extLst>
                <a:ext uri="{FF2B5EF4-FFF2-40B4-BE49-F238E27FC236}">
                  <a16:creationId xmlns:a16="http://schemas.microsoft.com/office/drawing/2014/main" id="{8EBA499B-5699-41D2-B326-DA5CF5A20D58}"/>
                </a:ext>
              </a:extLst>
            </p:cNvPr>
            <p:cNvSpPr/>
            <p:nvPr/>
          </p:nvSpPr>
          <p:spPr>
            <a:xfrm>
              <a:off x="617188" y="5467483"/>
              <a:ext cx="400747" cy="701794"/>
            </a:xfrm>
            <a:prstGeom prst="rect">
              <a:avLst/>
            </a:prstGeom>
            <a:noFill/>
            <a:ln w="38100">
              <a:solidFill>
                <a:srgbClr val="AC1640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4" name="Footnote">
            <a:extLst>
              <a:ext uri="{FF2B5EF4-FFF2-40B4-BE49-F238E27FC236}">
                <a16:creationId xmlns:a16="http://schemas.microsoft.com/office/drawing/2014/main" id="{FC9EB8B5-8269-EE30-5E13-1BCE9D706FFC}"/>
              </a:ext>
            </a:extLst>
          </p:cNvPr>
          <p:cNvSpPr/>
          <p:nvPr/>
        </p:nvSpPr>
        <p:spPr>
          <a:xfrm>
            <a:off x="495300" y="6412012"/>
            <a:ext cx="1160574" cy="153888"/>
          </a:xfrm>
          <a:prstGeom prst="rect">
            <a:avLst/>
          </a:prstGeom>
          <a:noFill/>
          <a:ln w="190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 anchorCtr="0">
            <a:spAutoFit/>
          </a:bodyPr>
          <a:lstStyle/>
          <a:p>
            <a:r>
              <a:rPr lang="de-DE" sz="1000" dirty="0">
                <a:solidFill>
                  <a:schemeClr val="tx1"/>
                </a:solidFill>
              </a:rPr>
              <a:t>*Search </a:t>
            </a:r>
            <a:r>
              <a:rPr lang="de-DE" sz="1000" dirty="0" err="1">
                <a:solidFill>
                  <a:schemeClr val="tx1"/>
                </a:solidFill>
              </a:rPr>
              <a:t>for</a:t>
            </a:r>
            <a:r>
              <a:rPr lang="de-DE" sz="1000" dirty="0">
                <a:solidFill>
                  <a:schemeClr val="tx1"/>
                </a:solidFill>
              </a:rPr>
              <a:t> „</a:t>
            </a:r>
            <a:r>
              <a:rPr lang="de-DE" sz="1000" dirty="0" err="1">
                <a:solidFill>
                  <a:schemeClr val="tx1"/>
                </a:solidFill>
              </a:rPr>
              <a:t>PowerOn</a:t>
            </a:r>
            <a:r>
              <a:rPr lang="de-DE" sz="1000" dirty="0">
                <a:solidFill>
                  <a:schemeClr val="tx1"/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26708286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Präsentation1" id="{8C5E64C3-C8C1-4A2B-A60F-B9D41FA3EBC0}" vid="{DDF2B6E1-8EF5-4DCF-BECF-5F6FEFA9EF98}"/>
    </a:ext>
  </a:extLst>
</a:theme>
</file>

<file path=ppt/theme/theme2.xml><?xml version="1.0" encoding="utf-8"?>
<a:theme xmlns:a="http://schemas.openxmlformats.org/drawingml/2006/main" name="Office">
  <a:themeElements>
    <a:clrScheme name="BMW Group 20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6035EFFF321614B8579B0D3CACFF2EC" ma:contentTypeVersion="13" ma:contentTypeDescription="Ein neues Dokument erstellen." ma:contentTypeScope="" ma:versionID="eef9f9f10af622ae537113e5c78569f6">
  <xsd:schema xmlns:xsd="http://www.w3.org/2001/XMLSchema" xmlns:xs="http://www.w3.org/2001/XMLSchema" xmlns:p="http://schemas.microsoft.com/office/2006/metadata/properties" xmlns:ns3="6d972de0-4bb4-4f12-a993-3ddd5c2fff66" xmlns:ns4="7e7a8e2a-0283-4edc-8c89-e855a66ad698" targetNamespace="http://schemas.microsoft.com/office/2006/metadata/properties" ma:root="true" ma:fieldsID="e8fe93826a66089d2a3bd98962b0ba0b" ns3:_="" ns4:_="">
    <xsd:import namespace="6d972de0-4bb4-4f12-a993-3ddd5c2fff66"/>
    <xsd:import namespace="7e7a8e2a-0283-4edc-8c89-e855a66ad69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972de0-4bb4-4f12-a993-3ddd5c2fff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2" nillable="true" ma:displayName="_activity" ma:hidden="true" ma:internalName="_activity">
      <xsd:simpleType>
        <xsd:restriction base="dms:Note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ystemTags" ma:index="17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7a8e2a-0283-4edc-8c89-e855a66ad698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Freigabehinweis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6d972de0-4bb4-4f12-a993-3ddd5c2fff66" xsi:nil="true"/>
  </documentManagement>
</p:properties>
</file>

<file path=customXml/itemProps1.xml><?xml version="1.0" encoding="utf-8"?>
<ds:datastoreItem xmlns:ds="http://schemas.openxmlformats.org/officeDocument/2006/customXml" ds:itemID="{9B8C36F0-3C6D-4C64-895C-82DF92C035C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d972de0-4bb4-4f12-a993-3ddd5c2fff66"/>
    <ds:schemaRef ds:uri="7e7a8e2a-0283-4edc-8c89-e855a66ad69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A07BA8E-2B93-4D49-AACA-15769F027FD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3F54CB0-0079-474A-8F47-F5F4E7DA18CE}">
  <ds:schemaRefs>
    <ds:schemaRef ds:uri="http://schemas.openxmlformats.org/package/2006/metadata/core-properties"/>
    <ds:schemaRef ds:uri="6d972de0-4bb4-4f12-a993-3ddd5c2fff66"/>
    <ds:schemaRef ds:uri="http://purl.org/dc/dcmitype/"/>
    <ds:schemaRef ds:uri="http://schemas.microsoft.com/office/infopath/2007/PartnerControls"/>
    <ds:schemaRef ds:uri="7e7a8e2a-0283-4edc-8c89-e855a66ad698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56</Words>
  <Application>Microsoft Office PowerPoint</Application>
  <PresentationFormat>Widescreen</PresentationFormat>
  <Paragraphs>50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BMW Group Condensed</vt:lpstr>
      <vt:lpstr>BMWGroupTN Condensed</vt:lpstr>
      <vt:lpstr>Wingdings</vt:lpstr>
      <vt:lpstr>BMW Group 2021</vt:lpstr>
      <vt:lpstr>think-cell Folie</vt:lpstr>
      <vt:lpstr>PowerPoint Presentation</vt:lpstr>
      <vt:lpstr>PowerPoint Presentation</vt:lpstr>
      <vt:lpstr>PowerPoint Presentation</vt:lpstr>
      <vt:lpstr>Relevant user information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ang Liudongnan, FG-430</dc:creator>
  <cp:lastModifiedBy>Liudongnan Yang</cp:lastModifiedBy>
  <cp:revision>4</cp:revision>
  <dcterms:created xsi:type="dcterms:W3CDTF">2024-04-29T11:55:15Z</dcterms:created>
  <dcterms:modified xsi:type="dcterms:W3CDTF">2024-04-29T13:39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035EFFF321614B8579B0D3CACFF2EC</vt:lpwstr>
  </property>
</Properties>
</file>